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0"/>
  </p:notesMasterIdLst>
  <p:handoutMasterIdLst>
    <p:handoutMasterId r:id="rId21"/>
  </p:handoutMasterIdLst>
  <p:sldIdLst>
    <p:sldId id="265" r:id="rId5"/>
    <p:sldId id="272" r:id="rId6"/>
    <p:sldId id="270" r:id="rId7"/>
    <p:sldId id="271" r:id="rId8"/>
    <p:sldId id="263" r:id="rId9"/>
    <p:sldId id="336" r:id="rId10"/>
    <p:sldId id="343" r:id="rId11"/>
    <p:sldId id="344" r:id="rId12"/>
    <p:sldId id="337" r:id="rId13"/>
    <p:sldId id="333" r:id="rId14"/>
    <p:sldId id="323" r:id="rId15"/>
    <p:sldId id="334" r:id="rId16"/>
    <p:sldId id="335" r:id="rId17"/>
    <p:sldId id="342" r:id="rId18"/>
    <p:sldId id="345" r:id="rId19"/>
  </p:sldIdLst>
  <p:sldSz cx="9144000" cy="6858000" type="screen4x3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C71"/>
    <a:srgbClr val="ADADAD"/>
    <a:srgbClr val="999999"/>
    <a:srgbClr val="FCAE00"/>
    <a:srgbClr val="B0D623"/>
    <a:srgbClr val="009104"/>
    <a:srgbClr val="0066F5"/>
    <a:srgbClr val="424242"/>
    <a:srgbClr val="EEEEEE"/>
    <a:srgbClr val="FFE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331076-0D7D-4DB8-8E6A-34DD3A2400BD}" v="13" dt="2019-01-28T09:15:03.063"/>
    <p1510:client id="{85E414BE-FCAA-8106-6E86-1E6737A2661F}" v="1301" dt="2019-01-28T13:47:00.1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94" autoAdjust="0"/>
    <p:restoredTop sz="94660"/>
  </p:normalViewPr>
  <p:slideViewPr>
    <p:cSldViewPr snapToGrid="0">
      <p:cViewPr varScale="1">
        <p:scale>
          <a:sx n="38" d="100"/>
          <a:sy n="38" d="100"/>
        </p:scale>
        <p:origin x="56" y="3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6F9CC7-A661-1A4E-A6A8-32B1898B85F1}" type="datetimeFigureOut">
              <a:rPr lang="en-US" smtClean="0"/>
              <a:t>1/2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4A3040-57E1-9842-871F-A54D1C6150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89789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8F8F64-9C61-D445-B66B-487A9AA63591}" type="datetimeFigureOut">
              <a:rPr lang="en-US" smtClean="0"/>
              <a:t>1/2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458E03-19E1-9046-80D8-7C2702296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00391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PH" dirty="0"/>
              <a:t>Small except age, inco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458E03-19E1-9046-80D8-7C270229610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4118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PH" dirty="0"/>
              <a:t>RAF score from negligible to considerable</a:t>
            </a:r>
          </a:p>
          <a:p>
            <a:r>
              <a:rPr lang="en-PH" dirty="0"/>
              <a:t>Table for CE population, negligi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458E03-19E1-9046-80D8-7C270229610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5621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No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685800" y="6416191"/>
            <a:ext cx="668020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US" sz="700">
                <a:solidFill>
                  <a:srgbClr val="FFFFFF"/>
                </a:solidFill>
              </a:rPr>
              <a:t>© 2018 UnitedHealth Group. Any use, copying, or distribution without written permission from UnitedHealth Group is prohibited.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2740025"/>
            <a:ext cx="7956529" cy="1044575"/>
          </a:xfrm>
          <a:prstGeom prst="rect">
            <a:avLst/>
          </a:prstGeom>
        </p:spPr>
        <p:txBody>
          <a:bodyPr vert="horz" lIns="0" rIns="0" anchor="b"/>
          <a:lstStyle>
            <a:lvl1pPr marL="0" indent="0">
              <a:buNone/>
              <a:defRPr sz="48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Title Case – Arial Bold 48p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3822607"/>
            <a:ext cx="7956529" cy="1044575"/>
          </a:xfrm>
          <a:prstGeom prst="rect">
            <a:avLst/>
          </a:prstGeom>
        </p:spPr>
        <p:txBody>
          <a:bodyPr vert="horz" lIns="0" rIns="0"/>
          <a:lstStyle>
            <a:lvl1pPr marL="0" indent="0">
              <a:buNone/>
              <a:defRPr sz="2000" b="1" i="0">
                <a:solidFill>
                  <a:schemeClr val="accent4"/>
                </a:solidFill>
                <a:latin typeface="+mn-lt"/>
                <a:cs typeface="Arial"/>
              </a:defRPr>
            </a:lvl1pPr>
          </a:lstStyle>
          <a:p>
            <a:r>
              <a:rPr lang="en-US"/>
              <a:t>Date – Arial 20pt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685802" y="635320"/>
            <a:ext cx="5149779" cy="276999"/>
            <a:chOff x="685802" y="635320"/>
            <a:chExt cx="5149779" cy="276999"/>
          </a:xfrm>
        </p:grpSpPr>
        <p:pic>
          <p:nvPicPr>
            <p:cNvPr id="6" name="Picture 5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 t="1" r="2064" b="-1"/>
            <a:stretch/>
          </p:blipFill>
          <p:spPr>
            <a:xfrm>
              <a:off x="685802" y="685800"/>
              <a:ext cx="2409825" cy="180045"/>
            </a:xfrm>
            <a:prstGeom prst="rect">
              <a:avLst/>
            </a:prstGeom>
          </p:spPr>
        </p:pic>
        <p:cxnSp>
          <p:nvCxnSpPr>
            <p:cNvPr id="7" name="Straight Connector 6"/>
            <p:cNvCxnSpPr/>
            <p:nvPr userDrawn="1"/>
          </p:nvCxnSpPr>
          <p:spPr>
            <a:xfrm>
              <a:off x="3226435" y="654189"/>
              <a:ext cx="0" cy="230706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/>
            <p:cNvSpPr txBox="1"/>
            <p:nvPr userDrawn="1"/>
          </p:nvSpPr>
          <p:spPr>
            <a:xfrm>
              <a:off x="3347720" y="635320"/>
              <a:ext cx="248786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kern="800" spc="-50">
                  <a:solidFill>
                    <a:schemeClr val="bg1"/>
                  </a:solidFill>
                </a:rPr>
                <a:t>Research</a:t>
              </a:r>
              <a:r>
                <a:rPr lang="en-US" kern="800" spc="-50" baseline="0">
                  <a:solidFill>
                    <a:schemeClr val="bg1"/>
                  </a:solidFill>
                </a:rPr>
                <a:t> &amp; Development</a:t>
              </a:r>
              <a:endParaRPr lang="en-US" kern="800" spc="-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4799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d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4343400"/>
            <a:ext cx="9144000" cy="2514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685800" y="6416191"/>
            <a:ext cx="668020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US" sz="700">
                <a:solidFill>
                  <a:srgbClr val="FFFFFF"/>
                </a:solidFill>
              </a:rPr>
              <a:t>© 2018 UnitedHealth Group. Any use, copying, or distribution without written permission from UnitedHealth Group is prohibited.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4460298"/>
            <a:ext cx="7956529" cy="1044575"/>
          </a:xfrm>
          <a:prstGeom prst="rect">
            <a:avLst/>
          </a:prstGeom>
        </p:spPr>
        <p:txBody>
          <a:bodyPr vert="horz" lIns="0" rIns="0" anchor="b"/>
          <a:lstStyle>
            <a:lvl1pPr marL="0" indent="0">
              <a:buNone/>
              <a:defRPr sz="48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Title Case – Arial Bold 48pt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5542881"/>
            <a:ext cx="7956529" cy="539224"/>
          </a:xfrm>
          <a:prstGeom prst="rect">
            <a:avLst/>
          </a:prstGeom>
        </p:spPr>
        <p:txBody>
          <a:bodyPr vert="horz" lIns="0" rIns="0"/>
          <a:lstStyle>
            <a:lvl1pPr marL="0" indent="0">
              <a:buNone/>
              <a:defRPr sz="2000" b="1" i="0">
                <a:solidFill>
                  <a:schemeClr val="accent4"/>
                </a:solidFill>
                <a:latin typeface="+mn-lt"/>
                <a:cs typeface="Arial"/>
              </a:defRPr>
            </a:lvl1pPr>
          </a:lstStyle>
          <a:p>
            <a:r>
              <a:rPr lang="en-US"/>
              <a:t>Date – Arial 20pt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C9996269-7555-4764-A9C4-E64090BCAEE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796925"/>
            <a:ext cx="9144000" cy="3546475"/>
          </a:xfrm>
          <a:solidFill>
            <a:schemeClr val="bg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/>
            </a:lvl1pPr>
          </a:lstStyle>
          <a:p>
            <a:pPr marL="257175" marR="0" lvl="0" indent="-257175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n-US"/>
              <a:t>Click icon to add photo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685801" y="322978"/>
            <a:ext cx="5133270" cy="276999"/>
            <a:chOff x="685801" y="322978"/>
            <a:chExt cx="5133270" cy="276999"/>
          </a:xfrm>
        </p:grpSpPr>
        <p:pic>
          <p:nvPicPr>
            <p:cNvPr id="5" name="Picture 4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" r="2147" b="-2"/>
            <a:stretch/>
          </p:blipFill>
          <p:spPr>
            <a:xfrm>
              <a:off x="685801" y="367222"/>
              <a:ext cx="2406650" cy="179959"/>
            </a:xfrm>
            <a:prstGeom prst="rect">
              <a:avLst/>
            </a:prstGeom>
          </p:spPr>
        </p:pic>
        <p:cxnSp>
          <p:nvCxnSpPr>
            <p:cNvPr id="6" name="Straight Connector 5"/>
            <p:cNvCxnSpPr/>
            <p:nvPr userDrawn="1"/>
          </p:nvCxnSpPr>
          <p:spPr>
            <a:xfrm>
              <a:off x="3219450" y="341847"/>
              <a:ext cx="0" cy="230706"/>
            </a:xfrm>
            <a:prstGeom prst="line">
              <a:avLst/>
            </a:prstGeom>
            <a:ln w="12700">
              <a:solidFill>
                <a:srgbClr val="9999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 userDrawn="1"/>
          </p:nvSpPr>
          <p:spPr>
            <a:xfrm>
              <a:off x="3331210" y="322978"/>
              <a:ext cx="248786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kern="800" spc="-50">
                  <a:solidFill>
                    <a:schemeClr val="accent1"/>
                  </a:solidFill>
                </a:rPr>
                <a:t>Research</a:t>
              </a:r>
              <a:r>
                <a:rPr lang="en-US" kern="800" spc="-50" baseline="0">
                  <a:solidFill>
                    <a:schemeClr val="accent1"/>
                  </a:solidFill>
                </a:rPr>
                <a:t> &amp; Development</a:t>
              </a:r>
              <a:endParaRPr lang="en-US" kern="800" spc="-50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6370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38667" y="2492750"/>
            <a:ext cx="7956529" cy="1844842"/>
          </a:xfrm>
          <a:prstGeom prst="rect">
            <a:avLst/>
          </a:prstGeom>
        </p:spPr>
        <p:txBody>
          <a:bodyPr vert="horz" lIns="0" rIns="0" anchor="ctr"/>
          <a:lstStyle>
            <a:lvl1pPr marL="0" indent="0" defTabSz="1018824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824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/>
              <a:t>BREAKER </a:t>
            </a:r>
            <a:br>
              <a:rPr lang="en-US"/>
            </a:br>
            <a:r>
              <a:rPr lang="en-US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17427745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Lt.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38667" y="2492750"/>
            <a:ext cx="7956529" cy="1844842"/>
          </a:xfrm>
          <a:prstGeom prst="rect">
            <a:avLst/>
          </a:prstGeom>
        </p:spPr>
        <p:txBody>
          <a:bodyPr vert="horz" lIns="0" rIns="0" anchor="ctr"/>
          <a:lstStyle>
            <a:lvl1pPr marL="0" indent="0" defTabSz="1018824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0" lvl="0" indent="0" defTabSz="1018824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/>
              <a:t>BREAKER </a:t>
            </a:r>
            <a:br>
              <a:rPr lang="en-US"/>
            </a:br>
            <a:r>
              <a:rPr lang="en-US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3976076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38667" y="2492750"/>
            <a:ext cx="7956529" cy="1844842"/>
          </a:xfrm>
          <a:prstGeom prst="rect">
            <a:avLst/>
          </a:prstGeom>
        </p:spPr>
        <p:txBody>
          <a:bodyPr vert="horz" lIns="0" rIns="0" anchor="ctr"/>
          <a:lstStyle>
            <a:lvl1pPr marL="0" indent="0" defTabSz="1018824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824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/>
              <a:t>BREAKER </a:t>
            </a:r>
            <a:br>
              <a:rPr lang="en-US"/>
            </a:br>
            <a:r>
              <a:rPr lang="en-US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118507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Grey">
    <p:bg>
      <p:bgPr>
        <a:solidFill>
          <a:srgbClr val="9999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38667" y="2492750"/>
            <a:ext cx="7956529" cy="1844842"/>
          </a:xfrm>
          <a:prstGeom prst="rect">
            <a:avLst/>
          </a:prstGeom>
        </p:spPr>
        <p:txBody>
          <a:bodyPr vert="horz" lIns="0" rIns="0" anchor="ctr"/>
          <a:lstStyle>
            <a:lvl1pPr marL="0" indent="0" defTabSz="1018824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824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/>
              <a:t>BREAKER </a:t>
            </a:r>
            <a:br>
              <a:rPr lang="en-US"/>
            </a:br>
            <a:r>
              <a:rPr lang="en-US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16456335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E40C9-7517-4B2D-AAB7-5F2E4A6EF5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899" y="110963"/>
            <a:ext cx="7991856" cy="48706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LL-CAPS – ARIAL BOLD 32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36DBF8-2606-48AE-B144-B248B9B846A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32899" y="1500271"/>
            <a:ext cx="7982712" cy="437388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Arial 24pt </a:t>
            </a:r>
          </a:p>
          <a:p>
            <a:pPr lvl="1"/>
            <a:r>
              <a:rPr lang="en-US"/>
              <a:t>Arial 24pt </a:t>
            </a:r>
          </a:p>
          <a:p>
            <a:pPr lvl="2"/>
            <a:r>
              <a:rPr lang="en-US"/>
              <a:t>Arial 20pt </a:t>
            </a:r>
          </a:p>
          <a:p>
            <a:pPr lvl="3"/>
            <a:r>
              <a:rPr lang="en-US"/>
              <a:t>Arial 20pt </a:t>
            </a:r>
          </a:p>
          <a:p>
            <a:pPr lvl="4"/>
            <a:r>
              <a:rPr lang="en-US"/>
              <a:t>Arial 20pt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38042B-8F0F-4283-A029-A5A4A27BE0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33280" y="505419"/>
            <a:ext cx="7991475" cy="404663"/>
          </a:xfrm>
        </p:spPr>
        <p:txBody>
          <a:bodyPr wrap="square">
            <a:spAutoFit/>
          </a:bodyPr>
          <a:lstStyle>
            <a:lvl1pPr marL="0" indent="0">
              <a:buNone/>
              <a:defRPr sz="2000">
                <a:solidFill>
                  <a:srgbClr val="ADADAD"/>
                </a:solidFill>
              </a:defRPr>
            </a:lvl1pPr>
          </a:lstStyle>
          <a:p>
            <a:pPr lvl="0"/>
            <a:r>
              <a:rPr lang="en-US"/>
              <a:t>lowercase subhead – Arial 20pt</a:t>
            </a:r>
          </a:p>
        </p:txBody>
      </p:sp>
    </p:spTree>
    <p:extLst>
      <p:ext uri="{BB962C8B-B14F-4D97-AF65-F5344CB8AC3E}">
        <p14:creationId xmlns:p14="http://schemas.microsoft.com/office/powerpoint/2010/main" val="31089072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9CBB91F-DEA0-4B10-BA5B-6F6730BF7DB1}"/>
              </a:ext>
            </a:extLst>
          </p:cNvPr>
          <p:cNvSpPr/>
          <p:nvPr userDrawn="1"/>
        </p:nvSpPr>
        <p:spPr>
          <a:xfrm>
            <a:off x="169762" y="6500129"/>
            <a:ext cx="8974238" cy="3578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176" y="6616364"/>
            <a:ext cx="1393824" cy="1016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1450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2" imgW="408" imgH="408" progId="TCLayout.ActiveDocument.1">
                  <p:embed/>
                </p:oleObj>
              </mc:Choice>
              <mc:Fallback>
                <p:oleObj name="think-cell Slide" r:id="rId12" imgW="408" imgH="40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4506607-EB73-43D2-BE51-66EA2B0D2F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2899" y="1496992"/>
            <a:ext cx="7982712" cy="4753184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9CBB91F-DEA0-4B10-BA5B-6F6730BF7DB1}"/>
              </a:ext>
            </a:extLst>
          </p:cNvPr>
          <p:cNvSpPr/>
          <p:nvPr/>
        </p:nvSpPr>
        <p:spPr>
          <a:xfrm>
            <a:off x="0" y="1034004"/>
            <a:ext cx="8160152" cy="61733"/>
          </a:xfrm>
          <a:prstGeom prst="rect">
            <a:avLst/>
          </a:prstGeom>
          <a:solidFill>
            <a:srgbClr val="ADADA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3BE5EAD-7101-4A5C-91EA-76D1064ED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110963"/>
            <a:ext cx="7991856" cy="5532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C6CEFB6-0A93-463B-A478-FF601D39B8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7170" y="6612270"/>
            <a:ext cx="25603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C7CA7E87-410D-4887-AABD-1ABCEA8A29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424E3CF-D28B-45F2-8635-73C80FADDC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0532" y="6626989"/>
            <a:ext cx="5173133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defRPr/>
            </a:pPr>
            <a:r>
              <a:rPr lang="en-US" sz="700">
                <a:solidFill>
                  <a:schemeClr val="bg1"/>
                </a:solidFill>
              </a:rPr>
              <a:t>© 2018 UnitedHealth Group. Any use, copying, or distribution without written permission from UnitedHealth Group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774550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722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50000"/>
        </a:lnSpc>
        <a:spcBef>
          <a:spcPts val="0"/>
        </a:spcBef>
        <a:buClr>
          <a:schemeClr val="tx1"/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900"/>
        </a:spcBef>
        <a:buClr>
          <a:schemeClr val="tx1"/>
        </a:buClr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900"/>
        </a:spcBef>
        <a:buClr>
          <a:schemeClr val="tx1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900"/>
        </a:spcBef>
        <a:buClr>
          <a:schemeClr val="tx1"/>
        </a:buClr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900"/>
        </a:spcBef>
        <a:buClr>
          <a:schemeClr val="tx1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1176" userDrawn="1">
          <p15:clr>
            <a:srgbClr val="F26B43"/>
          </p15:clr>
        </p15:guide>
        <p15:guide id="4" orient="horz" pos="864" userDrawn="1">
          <p15:clr>
            <a:srgbClr val="F26B43"/>
          </p15:clr>
        </p15:guide>
        <p15:guide id="5" orient="horz" pos="3936" userDrawn="1">
          <p15:clr>
            <a:srgbClr val="F26B43"/>
          </p15:clr>
        </p15:guide>
        <p15:guide id="6" pos="440" userDrawn="1">
          <p15:clr>
            <a:srgbClr val="F26B43"/>
          </p15:clr>
        </p15:guide>
        <p15:guide id="7" pos="54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55000" lnSpcReduction="20000"/>
          </a:bodyPr>
          <a:lstStyle/>
          <a:p>
            <a:r>
              <a:rPr lang="en-US" dirty="0"/>
              <a:t>Understanding the Enrollment Rate Drop in Key Account Mo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January 31, 2019</a:t>
            </a: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18" b="2091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29755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85DD8-F99D-4388-B7F8-7A20378E64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80483"/>
            <a:ext cx="7991856" cy="487062"/>
          </a:xfrm>
        </p:spPr>
        <p:txBody>
          <a:bodyPr>
            <a:normAutofit fontScale="90000"/>
          </a:bodyPr>
          <a:lstStyle/>
          <a:p>
            <a:r>
              <a:rPr lang="en-AU" dirty="0"/>
              <a:t>KA MOTION ACTIVE R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1AC2A0-70D3-47A7-A8E1-F9ADF9D3D52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2899" y="1500271"/>
            <a:ext cx="7982712" cy="485231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607ACE-5DEA-40FB-B580-5DFE26752D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3280" y="505419"/>
            <a:ext cx="7991475" cy="404663"/>
          </a:xfrm>
        </p:spPr>
        <p:txBody>
          <a:bodyPr/>
          <a:lstStyle/>
          <a:p>
            <a:r>
              <a:rPr lang="en-AU" dirty="0"/>
              <a:t>How many enrolled members are active in the program?</a:t>
            </a:r>
          </a:p>
        </p:txBody>
      </p:sp>
      <p:graphicFrame>
        <p:nvGraphicFramePr>
          <p:cNvPr id="66" name="Content Placeholder 4">
            <a:extLst>
              <a:ext uri="{FF2B5EF4-FFF2-40B4-BE49-F238E27FC236}">
                <a16:creationId xmlns:a16="http://schemas.microsoft.com/office/drawing/2014/main" id="{11657D71-D2D5-481D-933B-FEA78D41F0D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4400655"/>
              </p:ext>
            </p:extLst>
          </p:nvPr>
        </p:nvGraphicFramePr>
        <p:xfrm>
          <a:off x="576263" y="2136415"/>
          <a:ext cx="7991475" cy="22090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6531">
                  <a:extLst>
                    <a:ext uri="{9D8B030D-6E8A-4147-A177-3AD203B41FA5}">
                      <a16:colId xmlns:a16="http://schemas.microsoft.com/office/drawing/2014/main" val="2133403847"/>
                    </a:ext>
                  </a:extLst>
                </a:gridCol>
                <a:gridCol w="1897820">
                  <a:extLst>
                    <a:ext uri="{9D8B030D-6E8A-4147-A177-3AD203B41FA5}">
                      <a16:colId xmlns:a16="http://schemas.microsoft.com/office/drawing/2014/main" val="1633181014"/>
                    </a:ext>
                  </a:extLst>
                </a:gridCol>
                <a:gridCol w="1803562">
                  <a:extLst>
                    <a:ext uri="{9D8B030D-6E8A-4147-A177-3AD203B41FA5}">
                      <a16:colId xmlns:a16="http://schemas.microsoft.com/office/drawing/2014/main" val="3311814018"/>
                    </a:ext>
                  </a:extLst>
                </a:gridCol>
                <a:gridCol w="1803562">
                  <a:extLst>
                    <a:ext uri="{9D8B030D-6E8A-4147-A177-3AD203B41FA5}">
                      <a16:colId xmlns:a16="http://schemas.microsoft.com/office/drawing/2014/main" val="2042762257"/>
                    </a:ext>
                  </a:extLst>
                </a:gridCol>
              </a:tblGrid>
              <a:tr h="650255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Year Month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Active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Inactive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Active Rate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8435711"/>
                  </a:ext>
                </a:extLst>
              </a:tr>
              <a:tr h="77939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uly 2017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772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958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8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69.6%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7958107"/>
                  </a:ext>
                </a:extLst>
              </a:tr>
              <a:tr h="77939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uly 2018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880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792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32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53.3%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5936537"/>
                  </a:ext>
                </a:extLst>
              </a:tr>
            </a:tbl>
          </a:graphicData>
        </a:graphic>
      </p:graphicFrame>
      <p:sp>
        <p:nvSpPr>
          <p:cNvPr id="4" name="Arrow: Down 3">
            <a:extLst>
              <a:ext uri="{FF2B5EF4-FFF2-40B4-BE49-F238E27FC236}">
                <a16:creationId xmlns:a16="http://schemas.microsoft.com/office/drawing/2014/main" id="{0BFEEAFE-3F7A-4E86-A867-9C3392E6FAB1}"/>
              </a:ext>
            </a:extLst>
          </p:cNvPr>
          <p:cNvSpPr/>
          <p:nvPr/>
        </p:nvSpPr>
        <p:spPr>
          <a:xfrm>
            <a:off x="6879032" y="3798627"/>
            <a:ext cx="182354" cy="328104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61C4B66-08A4-470C-A127-7ED7A94EB29D}"/>
              </a:ext>
            </a:extLst>
          </p:cNvPr>
          <p:cNvSpPr txBox="1">
            <a:spLocks/>
          </p:cNvSpPr>
          <p:nvPr/>
        </p:nvSpPr>
        <p:spPr>
          <a:xfrm>
            <a:off x="1115496" y="1145423"/>
            <a:ext cx="6913009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There was a </a:t>
            </a: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drop in the percent</a:t>
            </a:r>
            <a:r>
              <a:rPr lang="en-US" sz="2000" dirty="0">
                <a:latin typeface="Century Gothic"/>
              </a:rPr>
              <a:t> of who are active among those enrolled</a:t>
            </a:r>
          </a:p>
        </p:txBody>
      </p:sp>
    </p:spTree>
    <p:extLst>
      <p:ext uri="{BB962C8B-B14F-4D97-AF65-F5344CB8AC3E}">
        <p14:creationId xmlns:p14="http://schemas.microsoft.com/office/powerpoint/2010/main" val="6357775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85DD8-F99D-4388-B7F8-7A20378E64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50003"/>
            <a:ext cx="7991856" cy="487062"/>
          </a:xfrm>
        </p:spPr>
        <p:txBody>
          <a:bodyPr>
            <a:normAutofit fontScale="90000"/>
          </a:bodyPr>
          <a:lstStyle/>
          <a:p>
            <a:r>
              <a:rPr lang="en-AU" dirty="0"/>
              <a:t>ACTIVE AMONG ENROLLED 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1AC2A0-70D3-47A7-A8E1-F9ADF9D3D52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2899" y="1500271"/>
            <a:ext cx="7982712" cy="485231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607ACE-5DEA-40FB-B580-5DFE26752D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3280" y="505419"/>
            <a:ext cx="7991475" cy="404663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AU" dirty="0">
                <a:cs typeface="Arial"/>
              </a:rPr>
              <a:t>Difference in Demographics</a:t>
            </a:r>
            <a:endParaRPr lang="en-AU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7EFE2F1-6200-4091-AFAC-9C8009BB65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7854528"/>
              </p:ext>
            </p:extLst>
          </p:nvPr>
        </p:nvGraphicFramePr>
        <p:xfrm>
          <a:off x="1239014" y="2142863"/>
          <a:ext cx="6665973" cy="2532482"/>
        </p:xfrm>
        <a:graphic>
          <a:graphicData uri="http://schemas.openxmlformats.org/drawingml/2006/table">
            <a:tbl>
              <a:tblPr/>
              <a:tblGrid>
                <a:gridCol w="1920239">
                  <a:extLst>
                    <a:ext uri="{9D8B030D-6E8A-4147-A177-3AD203B41FA5}">
                      <a16:colId xmlns:a16="http://schemas.microsoft.com/office/drawing/2014/main" val="41361196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434937152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713560877"/>
                    </a:ext>
                  </a:extLst>
                </a:gridCol>
                <a:gridCol w="868679">
                  <a:extLst>
                    <a:ext uri="{9D8B030D-6E8A-4147-A177-3AD203B41FA5}">
                      <a16:colId xmlns:a16="http://schemas.microsoft.com/office/drawing/2014/main" val="951890527"/>
                    </a:ext>
                  </a:extLst>
                </a:gridCol>
                <a:gridCol w="969263">
                  <a:extLst>
                    <a:ext uri="{9D8B030D-6E8A-4147-A177-3AD203B41FA5}">
                      <a16:colId xmlns:a16="http://schemas.microsoft.com/office/drawing/2014/main" val="2169488002"/>
                    </a:ext>
                  </a:extLst>
                </a:gridCol>
              </a:tblGrid>
              <a:tr h="259960">
                <a:tc>
                  <a:txBody>
                    <a:bodyPr/>
                    <a:lstStyle/>
                    <a:p>
                      <a:pPr algn="ctr" rtl="0" fontAlgn="ctr"/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 (N=6772)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July 2018 (N=8880)</a:t>
                      </a:r>
                      <a:endParaRPr lang="en-US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p-value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314635"/>
                  </a:ext>
                </a:extLst>
              </a:tr>
              <a:tr h="5039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Age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5</a:t>
                      </a:r>
                      <a:endParaRPr lang="en-US" sz="14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4</a:t>
                      </a:r>
                      <a:endParaRPr lang="en-US" sz="14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&lt; 0.01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4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4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0379413"/>
                  </a:ext>
                </a:extLst>
              </a:tr>
              <a:tr h="487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Gender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endParaRPr lang="en-PH" sz="14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3934146"/>
                  </a:ext>
                </a:extLst>
              </a:tr>
              <a:tr h="76403">
                <a:tc>
                  <a:txBody>
                    <a:bodyPr/>
                    <a:lstStyle/>
                    <a:p>
                      <a:pPr algn="l" rtl="0"/>
                      <a:r>
                        <a:rPr lang="en-PH" sz="14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  </a:t>
                      </a:r>
                      <a:r>
                        <a:rPr lang="en-PH" sz="14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 %</a:t>
                      </a:r>
                      <a:r>
                        <a:rPr lang="en-PH" sz="14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F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48.5</a:t>
                      </a: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%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54.1%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400" b="1" i="0" u="none" strike="noStrike" noProof="0" dirty="0">
                          <a:solidFill>
                            <a:srgbClr val="424242"/>
                          </a:solidFill>
                          <a:latin typeface="Arial"/>
                        </a:rPr>
                        <a:t>&lt; 0.01</a:t>
                      </a:r>
                      <a:endParaRPr lang="en-US" sz="1400" b="1" i="0" u="none" strike="noStrike" noProof="0" dirty="0"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4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400" b="1" dirty="0">
                        <a:solidFill>
                          <a:schemeClr val="accent3"/>
                        </a:solidFill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8601188"/>
                  </a:ext>
                </a:extLst>
              </a:tr>
              <a:tr h="76403">
                <a:tc>
                  <a:txBody>
                    <a:bodyPr/>
                    <a:lstStyle/>
                    <a:p>
                      <a:pPr algn="l" rtl="0"/>
                      <a:r>
                        <a:rPr lang="en-PH" sz="14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  </a:t>
                      </a:r>
                      <a:r>
                        <a:rPr lang="en-PH" sz="14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 %</a:t>
                      </a:r>
                      <a:r>
                        <a:rPr lang="en-PH" sz="14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M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51.5</a:t>
                      </a: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%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5.9%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400" b="1" i="0" u="none" strike="noStrike" noProof="0" dirty="0">
                          <a:solidFill>
                            <a:srgbClr val="424242"/>
                          </a:solidFill>
                          <a:latin typeface="Arial"/>
                        </a:rPr>
                        <a:t>&lt; 0.01</a:t>
                      </a:r>
                      <a:endParaRPr lang="en-US" sz="1400" b="1" i="0" u="none" strike="noStrike" noProof="0" dirty="0"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4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400" b="1" dirty="0">
                        <a:solidFill>
                          <a:schemeClr val="accent3"/>
                        </a:solidFill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6235761"/>
                  </a:ext>
                </a:extLst>
              </a:tr>
              <a:tr h="487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Subscriber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79.2%</a:t>
                      </a:r>
                      <a:endParaRPr lang="en-US" sz="14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82.3%</a:t>
                      </a:r>
                      <a:endParaRPr lang="en-US" sz="14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&lt; 0.01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4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400" b="1" dirty="0">
                        <a:solidFill>
                          <a:schemeClr val="accent3"/>
                        </a:solidFill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876313"/>
                  </a:ext>
                </a:extLst>
              </a:tr>
              <a:tr h="487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Area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endParaRPr lang="en-PH" sz="14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1704177"/>
                  </a:ext>
                </a:extLst>
              </a:tr>
              <a:tr h="76403">
                <a:tc>
                  <a:txBody>
                    <a:bodyPr/>
                    <a:lstStyle/>
                    <a:p>
                      <a:pPr algn="l" rtl="0"/>
                      <a:r>
                        <a:rPr lang="en-PH" sz="14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  </a:t>
                      </a:r>
                      <a:r>
                        <a:rPr lang="en-PH" sz="14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 %</a:t>
                      </a:r>
                      <a:r>
                        <a:rPr lang="en-PH" sz="14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R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25.6</a:t>
                      </a: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%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19.8%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400" b="1" i="0" u="none" strike="noStrike" noProof="0" dirty="0">
                          <a:solidFill>
                            <a:srgbClr val="424242"/>
                          </a:solidFill>
                          <a:latin typeface="Arial"/>
                        </a:rPr>
                        <a:t>&lt; 0.01</a:t>
                      </a:r>
                      <a:endParaRPr lang="en-US" sz="1400" b="1" i="0" u="none" strike="noStrike" noProof="0" dirty="0"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4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400" b="1" dirty="0">
                        <a:solidFill>
                          <a:schemeClr val="accent3"/>
                        </a:solidFill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352991"/>
                  </a:ext>
                </a:extLst>
              </a:tr>
              <a:tr h="76403">
                <a:tc>
                  <a:txBody>
                    <a:bodyPr/>
                    <a:lstStyle/>
                    <a:p>
                      <a:pPr algn="l" rtl="0"/>
                      <a:r>
                        <a:rPr lang="en-PH" sz="14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  </a:t>
                      </a:r>
                      <a:r>
                        <a:rPr lang="en-PH" sz="14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 %</a:t>
                      </a:r>
                      <a:r>
                        <a:rPr lang="en-PH" sz="14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S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2.6%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8.0%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400" b="1" i="0" u="none" strike="noStrike" noProof="0" dirty="0">
                          <a:solidFill>
                            <a:srgbClr val="424242"/>
                          </a:solidFill>
                          <a:latin typeface="Arial"/>
                        </a:rPr>
                        <a:t>&lt; 0.01</a:t>
                      </a:r>
                      <a:endParaRPr lang="en-US" sz="1400" b="1" i="0" u="none" strike="noStrike" noProof="0" dirty="0"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4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400" b="1" dirty="0">
                        <a:solidFill>
                          <a:schemeClr val="accent3"/>
                        </a:solidFill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413617"/>
                  </a:ext>
                </a:extLst>
              </a:tr>
              <a:tr h="76403">
                <a:tc>
                  <a:txBody>
                    <a:bodyPr/>
                    <a:lstStyle/>
                    <a:p>
                      <a:pPr algn="l" rtl="0"/>
                      <a:r>
                        <a:rPr lang="en-PH" sz="14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  </a:t>
                      </a:r>
                      <a:r>
                        <a:rPr lang="en-PH" sz="14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 %</a:t>
                      </a:r>
                      <a:r>
                        <a:rPr lang="en-PH" sz="14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U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31.9%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32.2%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400" b="1" i="0" u="none" strike="noStrike" noProof="0" dirty="0">
                          <a:solidFill>
                            <a:srgbClr val="424242"/>
                          </a:solidFill>
                          <a:latin typeface="Arial"/>
                        </a:rPr>
                        <a:t>&lt; 0.01</a:t>
                      </a:r>
                      <a:endParaRPr lang="en-US" sz="1400" b="1" i="0" u="none" strike="noStrike" noProof="0" dirty="0"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4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400" b="1" dirty="0">
                        <a:solidFill>
                          <a:schemeClr val="accent3"/>
                        </a:solidFill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3292502"/>
                  </a:ext>
                </a:extLst>
              </a:tr>
              <a:tr h="7640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Median Income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61,303.21</a:t>
                      </a:r>
                      <a:endParaRPr lang="en-US" sz="14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63,288.62 </a:t>
                      </a:r>
                      <a:endParaRPr lang="en-US" sz="14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&lt; 0.01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4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400" b="1" dirty="0">
                        <a:solidFill>
                          <a:schemeClr val="accent3"/>
                        </a:solidFill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7938654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F3B5C99-B0C7-4D7A-A487-0A77303F84DF}"/>
              </a:ext>
            </a:extLst>
          </p:cNvPr>
          <p:cNvSpPr txBox="1"/>
          <p:nvPr/>
        </p:nvSpPr>
        <p:spPr>
          <a:xfrm>
            <a:off x="2406316" y="1871892"/>
            <a:ext cx="43313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PH" sz="1600" b="1" dirty="0"/>
              <a:t>Demographic Comparison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2DBD8A2-9F6F-47B4-AF09-4137149BCF65}"/>
              </a:ext>
            </a:extLst>
          </p:cNvPr>
          <p:cNvSpPr txBox="1">
            <a:spLocks/>
          </p:cNvSpPr>
          <p:nvPr/>
        </p:nvSpPr>
        <p:spPr>
          <a:xfrm>
            <a:off x="1115496" y="1145423"/>
            <a:ext cx="6913009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No practical differences</a:t>
            </a:r>
            <a:r>
              <a:rPr lang="en-US" sz="2000" dirty="0">
                <a:latin typeface="Century Gothic"/>
              </a:rPr>
              <a:t> in demographics among the groups of active among enrolled members</a:t>
            </a:r>
          </a:p>
        </p:txBody>
      </p:sp>
    </p:spTree>
    <p:extLst>
      <p:ext uri="{BB962C8B-B14F-4D97-AF65-F5344CB8AC3E}">
        <p14:creationId xmlns:p14="http://schemas.microsoft.com/office/powerpoint/2010/main" val="18082817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85DD8-F99D-4388-B7F8-7A20378E64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50003"/>
            <a:ext cx="7991856" cy="487062"/>
          </a:xfrm>
        </p:spPr>
        <p:txBody>
          <a:bodyPr>
            <a:normAutofit fontScale="90000"/>
          </a:bodyPr>
          <a:lstStyle/>
          <a:p>
            <a:r>
              <a:rPr lang="en-AU" dirty="0"/>
              <a:t>ACTIVE AMONG ENROLLED 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1AC2A0-70D3-47A7-A8E1-F9ADF9D3D52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2899" y="1500271"/>
            <a:ext cx="7982712" cy="485231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607ACE-5DEA-40FB-B580-5DFE26752D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3280" y="505419"/>
            <a:ext cx="7991475" cy="404663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AU" dirty="0">
                <a:cs typeface="Arial"/>
              </a:rPr>
              <a:t>Difference in RAF and Prevalence Conditions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3B5C99-B0C7-4D7A-A487-0A77303F84DF}"/>
              </a:ext>
            </a:extLst>
          </p:cNvPr>
          <p:cNvSpPr txBox="1"/>
          <p:nvPr/>
        </p:nvSpPr>
        <p:spPr>
          <a:xfrm>
            <a:off x="1562520" y="2249221"/>
            <a:ext cx="60189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PH" sz="1600" b="1" dirty="0"/>
              <a:t>RAF Score and Percentage Prevalence Comparisons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65C4168-EAB6-4DF8-9513-882246D284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6023182"/>
              </p:ext>
            </p:extLst>
          </p:nvPr>
        </p:nvGraphicFramePr>
        <p:xfrm>
          <a:off x="1239014" y="2571959"/>
          <a:ext cx="6665973" cy="2261446"/>
        </p:xfrm>
        <a:graphic>
          <a:graphicData uri="http://schemas.openxmlformats.org/drawingml/2006/table">
            <a:tbl>
              <a:tblPr/>
              <a:tblGrid>
                <a:gridCol w="1920239">
                  <a:extLst>
                    <a:ext uri="{9D8B030D-6E8A-4147-A177-3AD203B41FA5}">
                      <a16:colId xmlns:a16="http://schemas.microsoft.com/office/drawing/2014/main" val="2942087558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963814145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709940585"/>
                    </a:ext>
                  </a:extLst>
                </a:gridCol>
                <a:gridCol w="868679">
                  <a:extLst>
                    <a:ext uri="{9D8B030D-6E8A-4147-A177-3AD203B41FA5}">
                      <a16:colId xmlns:a16="http://schemas.microsoft.com/office/drawing/2014/main" val="3992900192"/>
                    </a:ext>
                  </a:extLst>
                </a:gridCol>
                <a:gridCol w="969263">
                  <a:extLst>
                    <a:ext uri="{9D8B030D-6E8A-4147-A177-3AD203B41FA5}">
                      <a16:colId xmlns:a16="http://schemas.microsoft.com/office/drawing/2014/main" val="1976568417"/>
                    </a:ext>
                  </a:extLst>
                </a:gridCol>
              </a:tblGrid>
              <a:tr h="259960">
                <a:tc>
                  <a:txBody>
                    <a:bodyPr/>
                    <a:lstStyle/>
                    <a:p>
                      <a:pPr algn="ctr" rtl="0" fontAlgn="ctr"/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 (N=6772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8 (N=8880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p-value</a:t>
                      </a:r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157428"/>
                  </a:ext>
                </a:extLst>
              </a:tr>
              <a:tr h="202574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1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Type 2 Diabetes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5</a:t>
                      </a: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%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0.5%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9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---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1653931"/>
                  </a:ext>
                </a:extLst>
              </a:tr>
              <a:tr h="1967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Hypertension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9.7%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10.8%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0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4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4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9022506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Depression and Anxiety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5.6%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6.4%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0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4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400" b="1" dirty="0">
                        <a:solidFill>
                          <a:schemeClr val="accent3"/>
                        </a:solidFill>
                        <a:effectLst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6482341"/>
                  </a:ext>
                </a:extLst>
              </a:tr>
              <a:tr h="1967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1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COPD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0.4%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0.4%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9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---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5584656"/>
                  </a:ext>
                </a:extLst>
              </a:tr>
              <a:tr h="231522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1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Congestive Heart Failure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0.1%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0.2%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3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---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7550173"/>
                  </a:ext>
                </a:extLst>
              </a:tr>
              <a:tr h="1967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1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Rheumatoid Arthritis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0.1%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0.1%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4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---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063424"/>
                  </a:ext>
                </a:extLst>
              </a:tr>
              <a:tr h="1967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Chronic Pain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10.2</a:t>
                      </a: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%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11.4</a:t>
                      </a: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%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0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4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400" b="1" dirty="0">
                        <a:solidFill>
                          <a:schemeClr val="accent3"/>
                        </a:solidFill>
                        <a:effectLst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930989"/>
                  </a:ext>
                </a:extLst>
              </a:tr>
              <a:tr h="1967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RAF Score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0.92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0.83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&lt; 0.0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4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400" b="1" dirty="0">
                        <a:solidFill>
                          <a:schemeClr val="accent3"/>
                        </a:solidFill>
                        <a:effectLst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0987077"/>
                  </a:ext>
                </a:extLst>
              </a:tr>
            </a:tbl>
          </a:graphicData>
        </a:graphic>
      </p:graphicFrame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2374460-44F3-4762-910B-613ABACF128C}"/>
              </a:ext>
            </a:extLst>
          </p:cNvPr>
          <p:cNvSpPr txBox="1">
            <a:spLocks/>
          </p:cNvSpPr>
          <p:nvPr/>
        </p:nvSpPr>
        <p:spPr>
          <a:xfrm>
            <a:off x="970343" y="1121746"/>
            <a:ext cx="7203315" cy="1072755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No practical differences</a:t>
            </a:r>
            <a:r>
              <a:rPr lang="en-US" sz="2000" dirty="0">
                <a:latin typeface="Century Gothic"/>
              </a:rPr>
              <a:t> in RAF and percentage of prevalence conditions among the groups of active among enrolled members</a:t>
            </a:r>
          </a:p>
        </p:txBody>
      </p:sp>
    </p:spTree>
    <p:extLst>
      <p:ext uri="{BB962C8B-B14F-4D97-AF65-F5344CB8AC3E}">
        <p14:creationId xmlns:p14="http://schemas.microsoft.com/office/powerpoint/2010/main" val="17753892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E681F-C77B-4FF8-9956-498C56387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CTIVE AMONG ENROLLED </a:t>
            </a:r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F0AAEA8-6E45-4FFC-BC4E-15ED4379830A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238496369"/>
              </p:ext>
            </p:extLst>
          </p:nvPr>
        </p:nvGraphicFramePr>
        <p:xfrm>
          <a:off x="1235830" y="2145647"/>
          <a:ext cx="6672340" cy="1572863"/>
        </p:xfrm>
        <a:graphic>
          <a:graphicData uri="http://schemas.openxmlformats.org/drawingml/2006/table">
            <a:tbl>
              <a:tblPr/>
              <a:tblGrid>
                <a:gridCol w="1920239">
                  <a:extLst>
                    <a:ext uri="{9D8B030D-6E8A-4147-A177-3AD203B41FA5}">
                      <a16:colId xmlns:a16="http://schemas.microsoft.com/office/drawing/2014/main" val="1311403808"/>
                    </a:ext>
                  </a:extLst>
                </a:gridCol>
                <a:gridCol w="1454725">
                  <a:extLst>
                    <a:ext uri="{9D8B030D-6E8A-4147-A177-3AD203B41FA5}">
                      <a16:colId xmlns:a16="http://schemas.microsoft.com/office/drawing/2014/main" val="2307935831"/>
                    </a:ext>
                  </a:extLst>
                </a:gridCol>
                <a:gridCol w="1454725">
                  <a:extLst>
                    <a:ext uri="{9D8B030D-6E8A-4147-A177-3AD203B41FA5}">
                      <a16:colId xmlns:a16="http://schemas.microsoft.com/office/drawing/2014/main" val="2657077587"/>
                    </a:ext>
                  </a:extLst>
                </a:gridCol>
                <a:gridCol w="872834">
                  <a:extLst>
                    <a:ext uri="{9D8B030D-6E8A-4147-A177-3AD203B41FA5}">
                      <a16:colId xmlns:a16="http://schemas.microsoft.com/office/drawing/2014/main" val="3380514463"/>
                    </a:ext>
                  </a:extLst>
                </a:gridCol>
                <a:gridCol w="969817">
                  <a:extLst>
                    <a:ext uri="{9D8B030D-6E8A-4147-A177-3AD203B41FA5}">
                      <a16:colId xmlns:a16="http://schemas.microsoft.com/office/drawing/2014/main" val="939682506"/>
                    </a:ext>
                  </a:extLst>
                </a:gridCol>
              </a:tblGrid>
              <a:tr h="277872">
                <a:tc>
                  <a:txBody>
                    <a:bodyPr/>
                    <a:lstStyle/>
                    <a:p>
                      <a:pPr algn="ctr" rtl="0" fontAlgn="ctr"/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 (N=6772)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8 (N=8880)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p-value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6022359"/>
                  </a:ext>
                </a:extLst>
              </a:tr>
              <a:tr h="146647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1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Inpatient</a:t>
                      </a:r>
                      <a:endParaRPr lang="en-PH" sz="11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0.35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0.17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60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---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2506007"/>
                  </a:ext>
                </a:extLst>
              </a:tr>
              <a:tr h="160914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Outpatient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29.50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43.61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&lt; 0.01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4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4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920156"/>
                  </a:ext>
                </a:extLst>
              </a:tr>
              <a:tr h="160914">
                <a:tc>
                  <a:txBody>
                    <a:bodyPr/>
                    <a:lstStyle/>
                    <a:p>
                      <a:pPr algn="l" rtl="0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Doctor Visit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48.70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58.84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&lt; 0.01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4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4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963762"/>
                  </a:ext>
                </a:extLst>
              </a:tr>
              <a:tr h="146647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1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Drugs</a:t>
                      </a:r>
                      <a:endParaRPr lang="en-PH" sz="11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37.26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35.31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37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---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363225"/>
                  </a:ext>
                </a:extLst>
              </a:tr>
              <a:tr h="146647">
                <a:tc>
                  <a:txBody>
                    <a:bodyPr/>
                    <a:lstStyle/>
                    <a:p>
                      <a:pPr algn="l" rtl="0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Emergency Room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2.09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0.94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02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4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4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0055660"/>
                  </a:ext>
                </a:extLst>
              </a:tr>
              <a:tr h="240515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Total Allowed Amount</a:t>
                      </a: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169.96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191.37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02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4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4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1780585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8B0B7C-7AB0-41D1-ACCF-44FF657CC8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2CD75B-7DC5-4D1A-9797-32E945C41B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PH" dirty="0">
                <a:cs typeface="Arial"/>
              </a:rPr>
              <a:t>Difference in Healthcare Spending</a:t>
            </a:r>
            <a:endParaRPr lang="en-P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042201-D5B5-4B0C-8C8F-147C1FCD8205}"/>
              </a:ext>
            </a:extLst>
          </p:cNvPr>
          <p:cNvSpPr txBox="1"/>
          <p:nvPr/>
        </p:nvSpPr>
        <p:spPr>
          <a:xfrm>
            <a:off x="1556235" y="1854014"/>
            <a:ext cx="6031530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PH" sz="1600" b="1" dirty="0"/>
              <a:t> Healthcare Spending Comparisons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DB881CF-8599-4028-B1F6-B823432D06FF}"/>
              </a:ext>
            </a:extLst>
          </p:cNvPr>
          <p:cNvSpPr txBox="1">
            <a:spLocks/>
          </p:cNvSpPr>
          <p:nvPr/>
        </p:nvSpPr>
        <p:spPr>
          <a:xfrm>
            <a:off x="1115496" y="1145423"/>
            <a:ext cx="6913009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No practical differences</a:t>
            </a:r>
            <a:r>
              <a:rPr lang="en-US" sz="2000" dirty="0">
                <a:latin typeface="Century Gothic"/>
              </a:rPr>
              <a:t> in healthcare costs among the groups of active among enrolled members</a:t>
            </a:r>
            <a:endParaRPr lang="en-US" dirty="0"/>
          </a:p>
        </p:txBody>
      </p:sp>
      <p:pic>
        <p:nvPicPr>
          <p:cNvPr id="11" name="Picture 11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6FD36B07-A39C-4025-997B-93413CB05E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8260" y="3839100"/>
            <a:ext cx="5887481" cy="232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85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E681F-C77B-4FF8-9956-498C56387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CTIVE AMONG ENROLLED </a:t>
            </a:r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F0AAEA8-6E45-4FFC-BC4E-15ED4379830A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375462616"/>
              </p:ext>
            </p:extLst>
          </p:nvPr>
        </p:nvGraphicFramePr>
        <p:xfrm>
          <a:off x="1215196" y="2302448"/>
          <a:ext cx="6713608" cy="769236"/>
        </p:xfrm>
        <a:graphic>
          <a:graphicData uri="http://schemas.openxmlformats.org/drawingml/2006/table">
            <a:tbl>
              <a:tblPr/>
              <a:tblGrid>
                <a:gridCol w="1609274">
                  <a:extLst>
                    <a:ext uri="{9D8B030D-6E8A-4147-A177-3AD203B41FA5}">
                      <a16:colId xmlns:a16="http://schemas.microsoft.com/office/drawing/2014/main" val="1311403808"/>
                    </a:ext>
                  </a:extLst>
                </a:gridCol>
                <a:gridCol w="1547381">
                  <a:extLst>
                    <a:ext uri="{9D8B030D-6E8A-4147-A177-3AD203B41FA5}">
                      <a16:colId xmlns:a16="http://schemas.microsoft.com/office/drawing/2014/main" val="2307935831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2657077587"/>
                    </a:ext>
                  </a:extLst>
                </a:gridCol>
                <a:gridCol w="916049">
                  <a:extLst>
                    <a:ext uri="{9D8B030D-6E8A-4147-A177-3AD203B41FA5}">
                      <a16:colId xmlns:a16="http://schemas.microsoft.com/office/drawing/2014/main" val="3380514463"/>
                    </a:ext>
                  </a:extLst>
                </a:gridCol>
                <a:gridCol w="1095568">
                  <a:extLst>
                    <a:ext uri="{9D8B030D-6E8A-4147-A177-3AD203B41FA5}">
                      <a16:colId xmlns:a16="http://schemas.microsoft.com/office/drawing/2014/main" val="939682506"/>
                    </a:ext>
                  </a:extLst>
                </a:gridCol>
              </a:tblGrid>
              <a:tr h="277872">
                <a:tc>
                  <a:txBody>
                    <a:bodyPr/>
                    <a:lstStyle/>
                    <a:p>
                      <a:pPr algn="ctr" rtl="0" fontAlgn="ctr"/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 (N=6772)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8 (N=8880)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100" b="1" i="0" u="none" strike="noStrike" dirty="0" err="1">
                          <a:solidFill>
                            <a:srgbClr val="FFFFFF"/>
                          </a:solidFill>
                          <a:latin typeface="Arial"/>
                        </a:rPr>
                        <a:t>Obsereved</a:t>
                      </a:r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 Difference</a:t>
                      </a:r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1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Bootstrap CI</a:t>
                      </a:r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6022359"/>
                  </a:ext>
                </a:extLst>
              </a:tr>
              <a:tr h="3075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>
                          <a:solidFill>
                            <a:srgbClr val="424242"/>
                          </a:solidFill>
                          <a:latin typeface="Arial"/>
                        </a:rPr>
                        <a:t>PMPM</a:t>
                      </a:r>
                      <a:endParaRPr lang="en-PH" sz="1400" b="1" i="0" u="none" strike="noStrike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>
                          <a:solidFill>
                            <a:srgbClr val="424242"/>
                          </a:solidFill>
                          <a:latin typeface="Arial"/>
                        </a:rPr>
                        <a:t>$331.0</a:t>
                      </a:r>
                      <a:endParaRPr lang="en-PH" sz="1400" b="1" i="0" u="none" strike="noStrike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>
                          <a:solidFill>
                            <a:srgbClr val="424242"/>
                          </a:solidFill>
                          <a:latin typeface="Arial"/>
                        </a:rPr>
                        <a:t>$385.6</a:t>
                      </a:r>
                      <a:endParaRPr lang="en-PH" sz="1400" b="1" i="0" u="none" strike="noStrike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 fontAlgn="ctr">
                        <a:buNone/>
                      </a:pPr>
                      <a:r>
                        <a:rPr lang="en-PH" sz="1400" b="1" i="0" u="none" strike="noStrike">
                          <a:solidFill>
                            <a:srgbClr val="424242"/>
                          </a:solidFill>
                          <a:latin typeface="Arial"/>
                        </a:rPr>
                        <a:t>$54.6</a:t>
                      </a:r>
                      <a:endParaRPr lang="en-PH" sz="1400" b="1" i="0" u="none" strike="noStrike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($7.54, $102.32)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2506007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8B0B7C-7AB0-41D1-ACCF-44FF657CC8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2CD75B-7DC5-4D1A-9797-32E945C41B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PH">
                <a:cs typeface="Arial"/>
              </a:rPr>
              <a:t>Difference in PMPM Spending</a:t>
            </a:r>
            <a:endParaRPr lang="en-PH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042201-D5B5-4B0C-8C8F-147C1FCD8205}"/>
              </a:ext>
            </a:extLst>
          </p:cNvPr>
          <p:cNvSpPr txBox="1"/>
          <p:nvPr/>
        </p:nvSpPr>
        <p:spPr>
          <a:xfrm>
            <a:off x="1556235" y="2002563"/>
            <a:ext cx="6031530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PH" sz="1600" b="1" dirty="0"/>
              <a:t>PMPM Spending Comparisons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DB881CF-8599-4028-B1F6-B823432D06FF}"/>
              </a:ext>
            </a:extLst>
          </p:cNvPr>
          <p:cNvSpPr txBox="1">
            <a:spLocks/>
          </p:cNvSpPr>
          <p:nvPr/>
        </p:nvSpPr>
        <p:spPr>
          <a:xfrm>
            <a:off x="1115496" y="1145423"/>
            <a:ext cx="6913009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accent1"/>
              </a:buClr>
            </a:pPr>
            <a:r>
              <a:rPr lang="en-US" sz="2000">
                <a:latin typeface="Century Gothic"/>
              </a:rPr>
              <a:t>July 2018 active among enrolled members have </a:t>
            </a:r>
            <a:r>
              <a:rPr lang="en-US" sz="2000" b="1">
                <a:solidFill>
                  <a:srgbClr val="0070C0"/>
                </a:solidFill>
                <a:latin typeface="Century Gothic"/>
              </a:rPr>
              <a:t>higher month on month spending</a:t>
            </a:r>
            <a:r>
              <a:rPr lang="en-US" sz="2000">
                <a:latin typeface="Century Gothic"/>
              </a:rPr>
              <a:t> on healtcare</a:t>
            </a:r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31754548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E681F-C77B-4FF8-9956-498C56387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ONCLUSION 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8B0B7C-7AB0-41D1-ACCF-44FF657CC8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2CD75B-7DC5-4D1A-9797-32E945C41B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PH" dirty="0">
                <a:cs typeface="Arial"/>
              </a:rPr>
              <a:t>Overall Findings</a:t>
            </a:r>
            <a:endParaRPr lang="en-PH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DB881CF-8599-4028-B1F6-B823432D06FF}"/>
              </a:ext>
            </a:extLst>
          </p:cNvPr>
          <p:cNvSpPr txBox="1">
            <a:spLocks/>
          </p:cNvSpPr>
          <p:nvPr/>
        </p:nvSpPr>
        <p:spPr>
          <a:xfrm>
            <a:off x="593202" y="1671550"/>
            <a:ext cx="7529741" cy="2800242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chemeClr val="accent1"/>
              </a:buClr>
            </a:pPr>
            <a:r>
              <a:rPr lang="en-US" sz="2400" b="1" dirty="0"/>
              <a:t>There are no major differences between the two groups compared</a:t>
            </a:r>
          </a:p>
          <a:p>
            <a:pPr algn="just">
              <a:buClr>
                <a:schemeClr val="accent1"/>
              </a:buClr>
            </a:pPr>
            <a:r>
              <a:rPr lang="en-US" sz="2400" b="1" dirty="0"/>
              <a:t>In general, while there is statistical evidence that some variables are different, it is believed that the members belonging in July 2018 have the same characteristics as those in July 2017. </a:t>
            </a:r>
          </a:p>
        </p:txBody>
      </p:sp>
    </p:spTree>
    <p:extLst>
      <p:ext uri="{BB962C8B-B14F-4D97-AF65-F5344CB8AC3E}">
        <p14:creationId xmlns:p14="http://schemas.microsoft.com/office/powerpoint/2010/main" val="1145716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7389ED-DEC1-41BD-8BC9-ED8D55013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H" dirty="0"/>
              <a:t>Presentation 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C86AE5-B23B-41B0-84BE-4AD504AF0A6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PH" dirty="0"/>
              <a:t>Background</a:t>
            </a:r>
          </a:p>
          <a:p>
            <a:r>
              <a:rPr lang="en-PH" dirty="0"/>
              <a:t>Methods</a:t>
            </a:r>
          </a:p>
          <a:p>
            <a:r>
              <a:rPr lang="en-PH" dirty="0"/>
              <a:t>KA motion enrollment rate</a:t>
            </a:r>
          </a:p>
          <a:p>
            <a:r>
              <a:rPr lang="en-PH" dirty="0"/>
              <a:t>Comparison among enrolled members</a:t>
            </a:r>
          </a:p>
          <a:p>
            <a:pPr lvl="1"/>
            <a:r>
              <a:rPr lang="en-PH" dirty="0"/>
              <a:t>Demographics, health, claims</a:t>
            </a:r>
          </a:p>
          <a:p>
            <a:r>
              <a:rPr lang="en-PH" dirty="0"/>
              <a:t>Comparison among active members</a:t>
            </a:r>
          </a:p>
          <a:p>
            <a:pPr lvl="1"/>
            <a:r>
              <a:rPr lang="en-PH" dirty="0"/>
              <a:t>Demographics, health, claims</a:t>
            </a:r>
          </a:p>
          <a:p>
            <a:r>
              <a:rPr lang="en-PH" dirty="0"/>
              <a:t>Next steps</a:t>
            </a:r>
          </a:p>
          <a:p>
            <a:endParaRPr lang="en-PH" dirty="0"/>
          </a:p>
          <a:p>
            <a:endParaRPr lang="en-P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1DFADE-DA83-45E0-AE3F-31D6862444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8DCCDE-7D4D-4F0E-965E-CF31CE2450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17774598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DDA59B-A024-4D04-8199-B86DD30AB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H" dirty="0"/>
              <a:t>BACKGROU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BF59D4-BB85-42EE-8FB8-CCBF313AEEA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2898" y="1500271"/>
            <a:ext cx="8082781" cy="4373880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PH" dirty="0"/>
              <a:t>July 2018 monthly motion report: </a:t>
            </a:r>
          </a:p>
          <a:p>
            <a:pPr marL="0" indent="0">
              <a:buNone/>
            </a:pPr>
            <a:r>
              <a:rPr lang="en-PH" dirty="0"/>
              <a:t>Enrollment rate</a:t>
            </a:r>
          </a:p>
          <a:p>
            <a:pPr marL="0" indent="0">
              <a:buNone/>
            </a:pPr>
            <a:r>
              <a:rPr lang="en-PH" dirty="0"/>
              <a:t>	From 64% in July 2017 down to 42% in July 2018</a:t>
            </a:r>
          </a:p>
          <a:p>
            <a:pPr marL="0" indent="0">
              <a:buNone/>
            </a:pPr>
            <a:r>
              <a:rPr lang="en-PH" dirty="0"/>
              <a:t>Active rate</a:t>
            </a:r>
          </a:p>
          <a:p>
            <a:pPr marL="0" indent="0">
              <a:buNone/>
            </a:pPr>
            <a:r>
              <a:rPr lang="en-PH" dirty="0"/>
              <a:t>	From 61.9% in July 2017 down to 44.3% in July 2018</a:t>
            </a:r>
          </a:p>
          <a:p>
            <a:pPr marL="0" indent="0">
              <a:buNone/>
            </a:pPr>
            <a:r>
              <a:rPr lang="en-PH" b="1" dirty="0"/>
              <a:t>Killer questions:</a:t>
            </a:r>
          </a:p>
          <a:p>
            <a:pPr marL="0" indent="0">
              <a:buNone/>
            </a:pPr>
            <a:r>
              <a:rPr lang="en-PH" sz="2200" dirty="0"/>
              <a:t>How do member characteristics, particularly those related to health, compare? </a:t>
            </a:r>
          </a:p>
          <a:p>
            <a:pPr marL="457200" indent="-457200">
              <a:buAutoNum type="arabicPeriod"/>
            </a:pPr>
            <a:r>
              <a:rPr lang="en-PH" sz="2200" dirty="0"/>
              <a:t>Between those that were eligible in July 2017 and July 2018</a:t>
            </a:r>
          </a:p>
          <a:p>
            <a:pPr marL="457200" indent="-457200">
              <a:buFont typeface="Arial" pitchFamily="34" charset="0"/>
              <a:buAutoNum type="arabicPeriod"/>
            </a:pPr>
            <a:r>
              <a:rPr lang="en-PH" sz="2200" dirty="0"/>
              <a:t>Between those that were enrolled in July 2017 and July 2018</a:t>
            </a:r>
          </a:p>
          <a:p>
            <a:pPr marL="457200" indent="-457200">
              <a:buFont typeface="Arial" pitchFamily="34" charset="0"/>
              <a:buAutoNum type="arabicPeriod"/>
            </a:pPr>
            <a:r>
              <a:rPr lang="en-PH" sz="2200" dirty="0"/>
              <a:t>Between those that were active in July 2017 and July 2018</a:t>
            </a:r>
          </a:p>
          <a:p>
            <a:pPr marL="457200" indent="-457200">
              <a:buAutoNum type="arabicPeriod"/>
            </a:pPr>
            <a:endParaRPr lang="en-PH" sz="2200" dirty="0"/>
          </a:p>
          <a:p>
            <a:pPr marL="457200" indent="-457200">
              <a:buAutoNum type="arabicPeriod"/>
            </a:pPr>
            <a:endParaRPr lang="en-PH" sz="2200" dirty="0"/>
          </a:p>
          <a:p>
            <a:pPr marL="0" indent="0">
              <a:buNone/>
            </a:pPr>
            <a:endParaRPr lang="en-PH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BDC0F6-D675-484B-A6CF-A3FC1CB96E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FF5E67-073D-45D5-B1F8-3F8602EEC7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PH" dirty="0"/>
              <a:t>Sizeable drop in Key Account motion enrollment rate</a:t>
            </a:r>
          </a:p>
        </p:txBody>
      </p:sp>
    </p:spTree>
    <p:extLst>
      <p:ext uri="{BB962C8B-B14F-4D97-AF65-F5344CB8AC3E}">
        <p14:creationId xmlns:p14="http://schemas.microsoft.com/office/powerpoint/2010/main" val="18525289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019894-8635-4060-9E0E-8406FCD2D5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H" dirty="0"/>
              <a:t>METHO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E2F2BD-A523-42A5-98B2-4B303209C04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 fontScale="92500" lnSpcReduction="10000"/>
          </a:bodyPr>
          <a:lstStyle/>
          <a:p>
            <a:pPr>
              <a:buClr>
                <a:schemeClr val="accent1"/>
              </a:buClr>
              <a:buFont typeface="Arial" panose="020B0604020202020204" pitchFamily="34" charset="0"/>
              <a:buChar char="►"/>
            </a:pPr>
            <a:r>
              <a:rPr lang="en-PH" sz="1800" b="1" dirty="0"/>
              <a:t>Data</a:t>
            </a:r>
            <a:r>
              <a:rPr lang="en-PH" sz="1800" dirty="0"/>
              <a:t> </a:t>
            </a:r>
            <a:r>
              <a:rPr lang="en-PH" sz="1800" b="1" dirty="0"/>
              <a:t>source</a:t>
            </a:r>
            <a:r>
              <a:rPr lang="en-PH" sz="1800" dirty="0"/>
              <a:t>: identified via pharmacy and medical claims data with UHC</a:t>
            </a:r>
          </a:p>
          <a:p>
            <a:pPr>
              <a:buClr>
                <a:schemeClr val="accent1"/>
              </a:buClr>
              <a:buFont typeface="Arial" panose="020B0604020202020204" pitchFamily="34" charset="0"/>
              <a:buChar char="►"/>
            </a:pPr>
            <a:r>
              <a:rPr lang="en-PH" sz="1800" b="1" dirty="0"/>
              <a:t>Population</a:t>
            </a:r>
            <a:r>
              <a:rPr lang="en-PH" sz="1800" dirty="0"/>
              <a:t>: Members of employers eligible for Key Account Motion </a:t>
            </a:r>
            <a:endParaRPr lang="en-PH" sz="1800" b="1" dirty="0"/>
          </a:p>
          <a:p>
            <a:pPr>
              <a:buClr>
                <a:schemeClr val="accent1"/>
              </a:buClr>
              <a:buFont typeface="Arial" panose="020B0604020202020204" pitchFamily="34" charset="0"/>
              <a:buChar char="►"/>
            </a:pPr>
            <a:r>
              <a:rPr lang="en-PH" sz="1800" b="1" dirty="0"/>
              <a:t>Time period</a:t>
            </a:r>
            <a:r>
              <a:rPr lang="en-PH" sz="1800" dirty="0"/>
              <a:t>:</a:t>
            </a:r>
          </a:p>
          <a:p>
            <a:pPr marL="0" indent="0">
              <a:buNone/>
            </a:pPr>
            <a:r>
              <a:rPr lang="en-PH" sz="1800" dirty="0"/>
              <a:t>	 Group 1: July 2016 – July 2017 </a:t>
            </a:r>
          </a:p>
          <a:p>
            <a:pPr marL="0" indent="0">
              <a:buNone/>
            </a:pPr>
            <a:r>
              <a:rPr lang="en-PH" sz="1800" dirty="0"/>
              <a:t>	 Group 2: July 2017 – July 2018</a:t>
            </a:r>
          </a:p>
          <a:p>
            <a:pPr>
              <a:buClr>
                <a:schemeClr val="accent1"/>
              </a:buClr>
              <a:buFont typeface="Arial" panose="020B0604020202020204" pitchFamily="34" charset="0"/>
              <a:buChar char="►"/>
            </a:pPr>
            <a:r>
              <a:rPr lang="en-PH" sz="1800" b="1" dirty="0"/>
              <a:t>Definitions</a:t>
            </a:r>
            <a:r>
              <a:rPr lang="en-PH" sz="1800" dirty="0"/>
              <a:t>:</a:t>
            </a:r>
          </a:p>
          <a:p>
            <a:pPr marL="0" indent="0">
              <a:buNone/>
            </a:pPr>
            <a:r>
              <a:rPr lang="en-PH" sz="1800" dirty="0"/>
              <a:t>      - </a:t>
            </a:r>
            <a:r>
              <a:rPr lang="en-PH" sz="1800" b="1" dirty="0"/>
              <a:t>Eligible</a:t>
            </a:r>
            <a:r>
              <a:rPr lang="en-PH" sz="1800" dirty="0"/>
              <a:t>: enrolled in UHC and eligible to participate in KA motion program</a:t>
            </a:r>
          </a:p>
          <a:p>
            <a:pPr marL="0" indent="0">
              <a:buNone/>
            </a:pPr>
            <a:r>
              <a:rPr lang="en-PH" sz="1800" dirty="0"/>
              <a:t>      - </a:t>
            </a:r>
            <a:r>
              <a:rPr lang="en-PH" sz="1800" b="1" dirty="0"/>
              <a:t>Enrolled</a:t>
            </a:r>
            <a:r>
              <a:rPr lang="en-PH" sz="1800" dirty="0"/>
              <a:t>: enrolled in KA motion program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PH" sz="1800" dirty="0"/>
              <a:t>      - </a:t>
            </a:r>
            <a:r>
              <a:rPr lang="en-PH" sz="1800" b="1" dirty="0"/>
              <a:t>Active</a:t>
            </a:r>
            <a:r>
              <a:rPr lang="en-PH" sz="1800" dirty="0"/>
              <a:t>: had at least 100 steps during at least a day, and do not have an 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PH" sz="1800" dirty="0"/>
              <a:t>	    incentive adjustment &lt; $40 during the month</a:t>
            </a:r>
          </a:p>
          <a:p>
            <a:pPr marL="0" indent="0">
              <a:buNone/>
            </a:pPr>
            <a:r>
              <a:rPr lang="en-PH" sz="1800" dirty="0"/>
              <a:t>Amounts &gt; 99.5 percentile of extreme normalized values were removed from analyses </a:t>
            </a:r>
          </a:p>
          <a:p>
            <a:pPr marL="0" indent="0">
              <a:buNone/>
            </a:pPr>
            <a:endParaRPr lang="en-PH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471C0B-E04A-489F-B604-4276D3E251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1E5F41-3CB6-427E-9005-A8D559A8304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11986868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A MOTION ENROLLMENT RAT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How many have enrolled in the program?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CECDD4-D000-4107-AEAA-529607B2FCC1}"/>
              </a:ext>
            </a:extLst>
          </p:cNvPr>
          <p:cNvSpPr txBox="1"/>
          <p:nvPr/>
        </p:nvSpPr>
        <p:spPr>
          <a:xfrm>
            <a:off x="2286000" y="3200400"/>
            <a:ext cx="4572000" cy="369332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06F52C62-6219-46CC-895B-ECB8976B51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6467808"/>
              </p:ext>
            </p:extLst>
          </p:nvPr>
        </p:nvGraphicFramePr>
        <p:xfrm>
          <a:off x="576263" y="2136415"/>
          <a:ext cx="7991475" cy="23534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6531">
                  <a:extLst>
                    <a:ext uri="{9D8B030D-6E8A-4147-A177-3AD203B41FA5}">
                      <a16:colId xmlns:a16="http://schemas.microsoft.com/office/drawing/2014/main" val="2133403847"/>
                    </a:ext>
                  </a:extLst>
                </a:gridCol>
                <a:gridCol w="1897820">
                  <a:extLst>
                    <a:ext uri="{9D8B030D-6E8A-4147-A177-3AD203B41FA5}">
                      <a16:colId xmlns:a16="http://schemas.microsoft.com/office/drawing/2014/main" val="1633181014"/>
                    </a:ext>
                  </a:extLst>
                </a:gridCol>
                <a:gridCol w="1803562">
                  <a:extLst>
                    <a:ext uri="{9D8B030D-6E8A-4147-A177-3AD203B41FA5}">
                      <a16:colId xmlns:a16="http://schemas.microsoft.com/office/drawing/2014/main" val="3311814018"/>
                    </a:ext>
                  </a:extLst>
                </a:gridCol>
                <a:gridCol w="1803562">
                  <a:extLst>
                    <a:ext uri="{9D8B030D-6E8A-4147-A177-3AD203B41FA5}">
                      <a16:colId xmlns:a16="http://schemas.microsoft.com/office/drawing/2014/main" val="2042762257"/>
                    </a:ext>
                  </a:extLst>
                </a:gridCol>
              </a:tblGrid>
              <a:tr h="650255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Year Month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Eligible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Enrolled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Enrollment Rate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8435711"/>
                  </a:ext>
                </a:extLst>
              </a:tr>
              <a:tr h="77939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uly 2017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071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730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8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69.1%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7958107"/>
                  </a:ext>
                </a:extLst>
              </a:tr>
              <a:tr h="77939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uly 2018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6438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672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32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45.8%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5936537"/>
                  </a:ext>
                </a:extLst>
              </a:tr>
            </a:tbl>
          </a:graphicData>
        </a:graphic>
      </p:graphicFrame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381DCD9-6047-4DC9-B0D3-2A8B52CF7D7C}"/>
              </a:ext>
            </a:extLst>
          </p:cNvPr>
          <p:cNvSpPr txBox="1">
            <a:spLocks/>
          </p:cNvSpPr>
          <p:nvPr/>
        </p:nvSpPr>
        <p:spPr>
          <a:xfrm>
            <a:off x="593202" y="1145423"/>
            <a:ext cx="7931553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There was a sizeable </a:t>
            </a: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drop in the enrollment rate</a:t>
            </a:r>
            <a:r>
              <a:rPr lang="en-US" sz="2000" dirty="0">
                <a:latin typeface="Century Gothic"/>
              </a:rPr>
              <a:t> in the Key Accounts Motion program. </a:t>
            </a:r>
          </a:p>
        </p:txBody>
      </p:sp>
    </p:spTree>
    <p:extLst>
      <p:ext uri="{BB962C8B-B14F-4D97-AF65-F5344CB8AC3E}">
        <p14:creationId xmlns:p14="http://schemas.microsoft.com/office/powerpoint/2010/main" val="4035184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0A9895-2C2A-4AB8-A332-4C764C1CA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110963"/>
            <a:ext cx="7991856" cy="487062"/>
          </a:xfrm>
        </p:spPr>
        <p:txBody>
          <a:bodyPr/>
          <a:lstStyle/>
          <a:p>
            <a:r>
              <a:rPr lang="en-PH" dirty="0"/>
              <a:t>AMONG ELIGIBLE MEMB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28A751-7F51-4BDF-990C-0D714D6A6B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3645A0-C11B-4999-83E0-FFA1AE6C58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PH" dirty="0"/>
              <a:t>Difference in Demographic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B3A6474-EE8E-4064-9CAC-6E177B118A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0998795"/>
              </p:ext>
            </p:extLst>
          </p:nvPr>
        </p:nvGraphicFramePr>
        <p:xfrm>
          <a:off x="789140" y="3429000"/>
          <a:ext cx="7553194" cy="2630823"/>
        </p:xfrm>
        <a:graphic>
          <a:graphicData uri="http://schemas.openxmlformats.org/drawingml/2006/table">
            <a:tbl>
              <a:tblPr/>
              <a:tblGrid>
                <a:gridCol w="2175817">
                  <a:extLst>
                    <a:ext uri="{9D8B030D-6E8A-4147-A177-3AD203B41FA5}">
                      <a16:colId xmlns:a16="http://schemas.microsoft.com/office/drawing/2014/main" val="4136119649"/>
                    </a:ext>
                  </a:extLst>
                </a:gridCol>
                <a:gridCol w="1647405">
                  <a:extLst>
                    <a:ext uri="{9D8B030D-6E8A-4147-A177-3AD203B41FA5}">
                      <a16:colId xmlns:a16="http://schemas.microsoft.com/office/drawing/2014/main" val="434937152"/>
                    </a:ext>
                  </a:extLst>
                </a:gridCol>
                <a:gridCol w="1647405">
                  <a:extLst>
                    <a:ext uri="{9D8B030D-6E8A-4147-A177-3AD203B41FA5}">
                      <a16:colId xmlns:a16="http://schemas.microsoft.com/office/drawing/2014/main" val="1713560877"/>
                    </a:ext>
                  </a:extLst>
                </a:gridCol>
                <a:gridCol w="984298">
                  <a:extLst>
                    <a:ext uri="{9D8B030D-6E8A-4147-A177-3AD203B41FA5}">
                      <a16:colId xmlns:a16="http://schemas.microsoft.com/office/drawing/2014/main" val="951890527"/>
                    </a:ext>
                  </a:extLst>
                </a:gridCol>
                <a:gridCol w="1098269">
                  <a:extLst>
                    <a:ext uri="{9D8B030D-6E8A-4147-A177-3AD203B41FA5}">
                      <a16:colId xmlns:a16="http://schemas.microsoft.com/office/drawing/2014/main" val="2169488002"/>
                    </a:ext>
                  </a:extLst>
                </a:gridCol>
              </a:tblGrid>
              <a:tr h="419711">
                <a:tc>
                  <a:txBody>
                    <a:bodyPr/>
                    <a:lstStyle/>
                    <a:p>
                      <a:pPr algn="ctr" rtl="0" fontAlgn="ctr"/>
                      <a:endParaRPr lang="en-PH" sz="16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 (N=14071)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PH" sz="16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July 2018 (N=36438)</a:t>
                      </a:r>
                      <a:endParaRPr lang="en-US" sz="1600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p-value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6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6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314635"/>
                  </a:ext>
                </a:extLst>
              </a:tr>
              <a:tr h="269677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Age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4</a:t>
                      </a:r>
                      <a:endParaRPr lang="en-US" sz="16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3</a:t>
                      </a:r>
                      <a:endParaRPr lang="en-US" sz="16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&lt; 0.01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6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6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0379413"/>
                  </a:ext>
                </a:extLst>
              </a:tr>
              <a:tr h="269677">
                <a:tc>
                  <a:txBody>
                    <a:bodyPr/>
                    <a:lstStyle/>
                    <a:p>
                      <a:pPr algn="l" rtl="0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  </a:t>
                      </a:r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 %</a:t>
                      </a:r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F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46.6</a:t>
                      </a:r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%</a:t>
                      </a:r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51.0%</a:t>
                      </a:r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600" b="1" i="0" u="none" strike="noStrike" noProof="0" dirty="0">
                          <a:solidFill>
                            <a:srgbClr val="424242"/>
                          </a:solidFill>
                          <a:latin typeface="Arial"/>
                        </a:rPr>
                        <a:t>&lt; 0.01</a:t>
                      </a:r>
                      <a:endParaRPr lang="en-US" sz="1600" b="1" i="0" u="none" strike="noStrike" noProof="0" dirty="0"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6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600" b="1" dirty="0">
                        <a:solidFill>
                          <a:schemeClr val="accent3"/>
                        </a:solidFill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8601188"/>
                  </a:ext>
                </a:extLst>
              </a:tr>
              <a:tr h="213412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Subscriber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79.4%</a:t>
                      </a:r>
                      <a:endParaRPr lang="en-US" sz="1600" b="0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79.0%</a:t>
                      </a:r>
                      <a:endParaRPr lang="en-US" sz="1600" b="0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24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6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--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876313"/>
                  </a:ext>
                </a:extLst>
              </a:tr>
              <a:tr h="269677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Area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endParaRPr lang="en-PH" sz="16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1704177"/>
                  </a:ext>
                </a:extLst>
              </a:tr>
              <a:tr h="269677">
                <a:tc>
                  <a:txBody>
                    <a:bodyPr/>
                    <a:lstStyle/>
                    <a:p>
                      <a:pPr algn="l" rtl="0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  </a:t>
                      </a:r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 %</a:t>
                      </a:r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R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26.1</a:t>
                      </a:r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%</a:t>
                      </a:r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21.3%</a:t>
                      </a:r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600" b="1" i="0" u="none" strike="noStrike" noProof="0" dirty="0">
                          <a:solidFill>
                            <a:srgbClr val="424242"/>
                          </a:solidFill>
                          <a:latin typeface="Arial"/>
                        </a:rPr>
                        <a:t>&lt; 0.01</a:t>
                      </a:r>
                      <a:endParaRPr lang="en-US" sz="1600" b="1" i="0" u="none" strike="noStrike" noProof="0" dirty="0"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6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600" b="1" dirty="0">
                        <a:solidFill>
                          <a:schemeClr val="accent3"/>
                        </a:solidFill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352991"/>
                  </a:ext>
                </a:extLst>
              </a:tr>
              <a:tr h="269677">
                <a:tc>
                  <a:txBody>
                    <a:bodyPr/>
                    <a:lstStyle/>
                    <a:p>
                      <a:pPr algn="l" rtl="0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  </a:t>
                      </a:r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 %</a:t>
                      </a:r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S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2.9%</a:t>
                      </a:r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6.1%</a:t>
                      </a:r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600" b="1" i="0" u="none" strike="noStrike" noProof="0" dirty="0">
                          <a:solidFill>
                            <a:srgbClr val="424242"/>
                          </a:solidFill>
                          <a:latin typeface="Arial"/>
                        </a:rPr>
                        <a:t>&lt; 0.01</a:t>
                      </a:r>
                      <a:endParaRPr lang="en-US" sz="1600" b="1" i="0" u="none" strike="noStrike" noProof="0" dirty="0"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6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600" b="1" dirty="0">
                        <a:solidFill>
                          <a:schemeClr val="accent3"/>
                        </a:solidFill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413617"/>
                  </a:ext>
                </a:extLst>
              </a:tr>
              <a:tr h="269677">
                <a:tc>
                  <a:txBody>
                    <a:bodyPr/>
                    <a:lstStyle/>
                    <a:p>
                      <a:pPr algn="l" rtl="0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  </a:t>
                      </a:r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 %</a:t>
                      </a:r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U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31.1%</a:t>
                      </a:r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32.5%</a:t>
                      </a:r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600" b="1" i="0" u="none" strike="noStrike" noProof="0" dirty="0">
                          <a:solidFill>
                            <a:srgbClr val="424242"/>
                          </a:solidFill>
                          <a:latin typeface="Arial"/>
                        </a:rPr>
                        <a:t>&lt; 0.01</a:t>
                      </a:r>
                      <a:endParaRPr lang="en-US" sz="1600" b="1" i="0" u="none" strike="noStrike" noProof="0" dirty="0"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6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600" b="1" dirty="0">
                        <a:solidFill>
                          <a:schemeClr val="accent3"/>
                        </a:solidFill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3292502"/>
                  </a:ext>
                </a:extLst>
              </a:tr>
              <a:tr h="269677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Median Income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61,004.9</a:t>
                      </a:r>
                      <a:endParaRPr lang="en-US" sz="16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62,052.3</a:t>
                      </a:r>
                      <a:endParaRPr lang="en-US" sz="16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&lt; 0.01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6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600" b="1" dirty="0">
                        <a:solidFill>
                          <a:schemeClr val="accent3"/>
                        </a:solidFill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7938654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03035ACD-5013-4C6C-901F-8F9AF3FA2411}"/>
              </a:ext>
            </a:extLst>
          </p:cNvPr>
          <p:cNvSpPr txBox="1"/>
          <p:nvPr/>
        </p:nvSpPr>
        <p:spPr>
          <a:xfrm>
            <a:off x="928248" y="2924076"/>
            <a:ext cx="43313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sz="1600" b="1" dirty="0"/>
              <a:t>Demographic Comparison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80E3F85-A601-460E-BCE1-B1E226D0EFB6}"/>
              </a:ext>
            </a:extLst>
          </p:cNvPr>
          <p:cNvSpPr txBox="1">
            <a:spLocks/>
          </p:cNvSpPr>
          <p:nvPr/>
        </p:nvSpPr>
        <p:spPr>
          <a:xfrm>
            <a:off x="593202" y="1145423"/>
            <a:ext cx="7931553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No sizeable differences</a:t>
            </a:r>
            <a:r>
              <a:rPr lang="en-US" sz="2000" dirty="0">
                <a:latin typeface="Century Gothic"/>
              </a:rPr>
              <a:t> in demographics between the groups of eligible members</a:t>
            </a:r>
          </a:p>
        </p:txBody>
      </p:sp>
    </p:spTree>
    <p:extLst>
      <p:ext uri="{BB962C8B-B14F-4D97-AF65-F5344CB8AC3E}">
        <p14:creationId xmlns:p14="http://schemas.microsoft.com/office/powerpoint/2010/main" val="27220827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0A9895-2C2A-4AB8-A332-4C764C1CA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110963"/>
            <a:ext cx="7991856" cy="487062"/>
          </a:xfrm>
        </p:spPr>
        <p:txBody>
          <a:bodyPr/>
          <a:lstStyle/>
          <a:p>
            <a:r>
              <a:rPr lang="en-PH" dirty="0"/>
              <a:t>AMONG ELIGIBLE MEMB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28A751-7F51-4BDF-990C-0D714D6A6B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3645A0-C11B-4999-83E0-FFA1AE6C58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cs typeface="Arial"/>
              </a:rPr>
              <a:t>Difference in RAF and Prevalence Conditions</a:t>
            </a:r>
            <a:endParaRPr lang="en-P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B4AC25-9880-47AA-B5AE-E1C2BF76911F}"/>
              </a:ext>
            </a:extLst>
          </p:cNvPr>
          <p:cNvSpPr txBox="1"/>
          <p:nvPr/>
        </p:nvSpPr>
        <p:spPr>
          <a:xfrm>
            <a:off x="635596" y="3013307"/>
            <a:ext cx="60189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PH" sz="1600" b="1" dirty="0"/>
              <a:t>RAF Score and Percentage Prevalence Comparison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8D15355-C00D-4324-9312-741038DF27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2761087"/>
              </p:ext>
            </p:extLst>
          </p:nvPr>
        </p:nvGraphicFramePr>
        <p:xfrm>
          <a:off x="970344" y="3382028"/>
          <a:ext cx="7203315" cy="3002393"/>
        </p:xfrm>
        <a:graphic>
          <a:graphicData uri="http://schemas.openxmlformats.org/drawingml/2006/table">
            <a:tbl>
              <a:tblPr/>
              <a:tblGrid>
                <a:gridCol w="2075029">
                  <a:extLst>
                    <a:ext uri="{9D8B030D-6E8A-4147-A177-3AD203B41FA5}">
                      <a16:colId xmlns:a16="http://schemas.microsoft.com/office/drawing/2014/main" val="2942087558"/>
                    </a:ext>
                  </a:extLst>
                </a:gridCol>
                <a:gridCol w="1571094">
                  <a:extLst>
                    <a:ext uri="{9D8B030D-6E8A-4147-A177-3AD203B41FA5}">
                      <a16:colId xmlns:a16="http://schemas.microsoft.com/office/drawing/2014/main" val="2963814145"/>
                    </a:ext>
                  </a:extLst>
                </a:gridCol>
                <a:gridCol w="1571094">
                  <a:extLst>
                    <a:ext uri="{9D8B030D-6E8A-4147-A177-3AD203B41FA5}">
                      <a16:colId xmlns:a16="http://schemas.microsoft.com/office/drawing/2014/main" val="709940585"/>
                    </a:ext>
                  </a:extLst>
                </a:gridCol>
                <a:gridCol w="938703">
                  <a:extLst>
                    <a:ext uri="{9D8B030D-6E8A-4147-A177-3AD203B41FA5}">
                      <a16:colId xmlns:a16="http://schemas.microsoft.com/office/drawing/2014/main" val="3992900192"/>
                    </a:ext>
                  </a:extLst>
                </a:gridCol>
                <a:gridCol w="1047395">
                  <a:extLst>
                    <a:ext uri="{9D8B030D-6E8A-4147-A177-3AD203B41FA5}">
                      <a16:colId xmlns:a16="http://schemas.microsoft.com/office/drawing/2014/main" val="1976568417"/>
                    </a:ext>
                  </a:extLst>
                </a:gridCol>
              </a:tblGrid>
              <a:tr h="418820">
                <a:tc>
                  <a:txBody>
                    <a:bodyPr/>
                    <a:lstStyle/>
                    <a:p>
                      <a:pPr algn="ctr" rtl="0" fontAlgn="ctr"/>
                      <a:endParaRPr lang="en-PH" sz="16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July 2017 (N=6772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July 2018 (N=8880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p-value</a:t>
                      </a:r>
                      <a:endParaRPr lang="en-PH" sz="16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6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Effect Size Magnitude</a:t>
                      </a:r>
                      <a:endParaRPr lang="en-PH" sz="16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157428"/>
                  </a:ext>
                </a:extLst>
              </a:tr>
              <a:tr h="248345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Type 2 Diabetes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0.6</a:t>
                      </a:r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%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0.5%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0.6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---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1653931"/>
                  </a:ext>
                </a:extLst>
              </a:tr>
              <a:tr h="241218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Hypertension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9.8%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10.0%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0.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PH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2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9022506"/>
                  </a:ext>
                </a:extLst>
              </a:tr>
              <a:tr h="28383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Depression and Anxiety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6.2%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6.6%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0.0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PH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2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6482341"/>
                  </a:ext>
                </a:extLst>
              </a:tr>
              <a:tr h="241218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COPD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0.6%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0.5%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0.5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---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5584656"/>
                  </a:ext>
                </a:extLst>
              </a:tr>
              <a:tr h="28383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Congestive Heart Failure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0.3%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0.3%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0.6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---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7550173"/>
                  </a:ext>
                </a:extLst>
              </a:tr>
              <a:tr h="241218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Rheumatoid Arthritis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0.1%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0.1%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0.7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---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063424"/>
                  </a:ext>
                </a:extLst>
              </a:tr>
              <a:tr h="241218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Chronic Pain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10.8</a:t>
                      </a:r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%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11.0</a:t>
                      </a:r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%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0.48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6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---</a:t>
                      </a:r>
                      <a:endParaRPr lang="en-PH" sz="16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930989"/>
                  </a:ext>
                </a:extLst>
              </a:tr>
              <a:tr h="26935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RAF Score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0.92</a:t>
                      </a:r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0.83</a:t>
                      </a:r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&lt; 0.0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600" b="1" i="0" u="none" strike="noStrike" noProof="0" dirty="0">
                          <a:solidFill>
                            <a:schemeClr val="accent3"/>
                          </a:solidFill>
                          <a:latin typeface="+mn-lt"/>
                        </a:rPr>
                        <a:t>Negligible</a:t>
                      </a:r>
                      <a:endParaRPr lang="en-US" sz="1600" b="1" dirty="0">
                        <a:solidFill>
                          <a:schemeClr val="accent3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0987077"/>
                  </a:ext>
                </a:extLst>
              </a:tr>
            </a:tbl>
          </a:graphicData>
        </a:graphic>
      </p:graphicFrame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D95128B-B98F-4300-8A35-281762444513}"/>
              </a:ext>
            </a:extLst>
          </p:cNvPr>
          <p:cNvSpPr txBox="1">
            <a:spLocks/>
          </p:cNvSpPr>
          <p:nvPr/>
        </p:nvSpPr>
        <p:spPr>
          <a:xfrm>
            <a:off x="635597" y="1121746"/>
            <a:ext cx="7538062" cy="1072755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July 2018 have RAF scores 0.14 lower</a:t>
            </a:r>
          </a:p>
          <a:p>
            <a:pPr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Continuous enrollment shows no difference in RAF scores</a:t>
            </a:r>
          </a:p>
        </p:txBody>
      </p:sp>
    </p:spTree>
    <p:extLst>
      <p:ext uri="{BB962C8B-B14F-4D97-AF65-F5344CB8AC3E}">
        <p14:creationId xmlns:p14="http://schemas.microsoft.com/office/powerpoint/2010/main" val="9483452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0A9895-2C2A-4AB8-A332-4C764C1CA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110963"/>
            <a:ext cx="7991856" cy="487062"/>
          </a:xfrm>
        </p:spPr>
        <p:txBody>
          <a:bodyPr/>
          <a:lstStyle/>
          <a:p>
            <a:r>
              <a:rPr lang="en-PH" dirty="0"/>
              <a:t>AMONG ELIGIBLE MEMB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28A751-7F51-4BDF-990C-0D714D6A6B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3645A0-C11B-4999-83E0-FFA1AE6C58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PH" dirty="0">
                <a:cs typeface="Arial"/>
              </a:rPr>
              <a:t>Difference in Healthcare costs</a:t>
            </a:r>
            <a:endParaRPr lang="en-PH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DFA3800-1BD6-439D-9738-863E21FFF8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8884636"/>
              </p:ext>
            </p:extLst>
          </p:nvPr>
        </p:nvGraphicFramePr>
        <p:xfrm>
          <a:off x="1235830" y="2145647"/>
          <a:ext cx="6672340" cy="1527143"/>
        </p:xfrm>
        <a:graphic>
          <a:graphicData uri="http://schemas.openxmlformats.org/drawingml/2006/table">
            <a:tbl>
              <a:tblPr/>
              <a:tblGrid>
                <a:gridCol w="1920239">
                  <a:extLst>
                    <a:ext uri="{9D8B030D-6E8A-4147-A177-3AD203B41FA5}">
                      <a16:colId xmlns:a16="http://schemas.microsoft.com/office/drawing/2014/main" val="1311403808"/>
                    </a:ext>
                  </a:extLst>
                </a:gridCol>
                <a:gridCol w="1454725">
                  <a:extLst>
                    <a:ext uri="{9D8B030D-6E8A-4147-A177-3AD203B41FA5}">
                      <a16:colId xmlns:a16="http://schemas.microsoft.com/office/drawing/2014/main" val="2307935831"/>
                    </a:ext>
                  </a:extLst>
                </a:gridCol>
                <a:gridCol w="1454725">
                  <a:extLst>
                    <a:ext uri="{9D8B030D-6E8A-4147-A177-3AD203B41FA5}">
                      <a16:colId xmlns:a16="http://schemas.microsoft.com/office/drawing/2014/main" val="2657077587"/>
                    </a:ext>
                  </a:extLst>
                </a:gridCol>
                <a:gridCol w="872834">
                  <a:extLst>
                    <a:ext uri="{9D8B030D-6E8A-4147-A177-3AD203B41FA5}">
                      <a16:colId xmlns:a16="http://schemas.microsoft.com/office/drawing/2014/main" val="3380514463"/>
                    </a:ext>
                  </a:extLst>
                </a:gridCol>
                <a:gridCol w="969817">
                  <a:extLst>
                    <a:ext uri="{9D8B030D-6E8A-4147-A177-3AD203B41FA5}">
                      <a16:colId xmlns:a16="http://schemas.microsoft.com/office/drawing/2014/main" val="939682506"/>
                    </a:ext>
                  </a:extLst>
                </a:gridCol>
              </a:tblGrid>
              <a:tr h="277872">
                <a:tc>
                  <a:txBody>
                    <a:bodyPr/>
                    <a:lstStyle/>
                    <a:p>
                      <a:pPr algn="ctr" rtl="0" fontAlgn="ctr"/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 (N=6772)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8 (N=8880)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p-value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6022359"/>
                  </a:ext>
                </a:extLst>
              </a:tr>
              <a:tr h="146647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1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Inpatient</a:t>
                      </a:r>
                      <a:endParaRPr lang="en-PH" sz="11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1.61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0.98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34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---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2506007"/>
                  </a:ext>
                </a:extLst>
              </a:tr>
              <a:tr h="160914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Outpatient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30.41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38.12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&lt; 0.01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4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4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920156"/>
                  </a:ext>
                </a:extLst>
              </a:tr>
              <a:tr h="160914">
                <a:tc>
                  <a:txBody>
                    <a:bodyPr/>
                    <a:lstStyle/>
                    <a:p>
                      <a:pPr algn="l" rtl="0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Doctor Visit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46.67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52.18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&lt; 0.01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4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4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963762"/>
                  </a:ext>
                </a:extLst>
              </a:tr>
              <a:tr h="146647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1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Drugs</a:t>
                      </a:r>
                      <a:endParaRPr lang="en-PH" sz="11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35.73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37.40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24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---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363225"/>
                  </a:ext>
                </a:extLst>
              </a:tr>
              <a:tr h="146647">
                <a:tc>
                  <a:txBody>
                    <a:bodyPr/>
                    <a:lstStyle/>
                    <a:p>
                      <a:pPr algn="l" rtl="0"/>
                      <a:r>
                        <a:rPr lang="en-PH" sz="11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Emergency Room</a:t>
                      </a:r>
                      <a:endParaRPr lang="en-PH" sz="11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2.23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2.18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89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100" b="0" i="0" u="none" strike="noStrike" dirty="0">
                          <a:solidFill>
                            <a:srgbClr val="424242"/>
                          </a:solidFill>
                          <a:latin typeface="+mn-lt"/>
                        </a:rPr>
                        <a:t>---</a:t>
                      </a:r>
                      <a:endParaRPr lang="en-PH" sz="1100" b="0" i="0" u="none" strike="noStrike" dirty="0">
                        <a:solidFill>
                          <a:srgbClr val="424242"/>
                        </a:solidFill>
                        <a:effectLst/>
                        <a:latin typeface="+mn-lt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0055660"/>
                  </a:ext>
                </a:extLst>
              </a:tr>
              <a:tr h="240515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Total Allowed Amount</a:t>
                      </a: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188.39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208.21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effectLst/>
                          <a:latin typeface="+mn-lt"/>
                        </a:rPr>
                        <a:t>&lt; 0.01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4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4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178058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2B87BE96-8097-408C-B244-E5D3FC1FB895}"/>
              </a:ext>
            </a:extLst>
          </p:cNvPr>
          <p:cNvSpPr txBox="1"/>
          <p:nvPr/>
        </p:nvSpPr>
        <p:spPr>
          <a:xfrm>
            <a:off x="1556235" y="1854014"/>
            <a:ext cx="6031530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PH" sz="1600" b="1" dirty="0"/>
              <a:t> Healthcare Spending Comparisons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5E53CBC-F3FB-4860-BE95-FEB2406B95AF}"/>
              </a:ext>
            </a:extLst>
          </p:cNvPr>
          <p:cNvSpPr txBox="1">
            <a:spLocks/>
          </p:cNvSpPr>
          <p:nvPr/>
        </p:nvSpPr>
        <p:spPr>
          <a:xfrm>
            <a:off x="593202" y="1145423"/>
            <a:ext cx="7931553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July 2018 have had $20 higher total costs, $8 higher for OP, $6 higher for DR</a:t>
            </a:r>
            <a:endParaRPr lang="en-US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E326802E-5AB4-4D0F-B099-4CDD052B039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626654" y="3860839"/>
            <a:ext cx="5890693" cy="2424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7369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0A9895-2C2A-4AB8-A332-4C764C1CA9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H" dirty="0"/>
              <a:t>AMONG ELIGIBLE MEMB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28A751-7F51-4BDF-990C-0D714D6A6B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3645A0-C11B-4999-83E0-FFA1AE6C58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PH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3F8248FA-E9BC-4C27-943B-F76B1A78E6E5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709612" y="3428572"/>
            <a:ext cx="7629525" cy="306705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0D8E2A8-6FBE-4A0E-9761-AF27093A96B8}"/>
              </a:ext>
            </a:extLst>
          </p:cNvPr>
          <p:cNvSpPr txBox="1">
            <a:spLocks/>
          </p:cNvSpPr>
          <p:nvPr/>
        </p:nvSpPr>
        <p:spPr>
          <a:xfrm>
            <a:off x="536414" y="1145423"/>
            <a:ext cx="6913009" cy="540764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dirty="0"/>
              <a:t>No practical differences between healthcare costs</a:t>
            </a:r>
          </a:p>
        </p:txBody>
      </p:sp>
      <p:graphicFrame>
        <p:nvGraphicFramePr>
          <p:cNvPr id="16" name="Content Placeholder 4">
            <a:extLst>
              <a:ext uri="{FF2B5EF4-FFF2-40B4-BE49-F238E27FC236}">
                <a16:creationId xmlns:a16="http://schemas.microsoft.com/office/drawing/2014/main" id="{8C43F688-740B-4808-9723-7650646462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316643"/>
              </p:ext>
            </p:extLst>
          </p:nvPr>
        </p:nvGraphicFramePr>
        <p:xfrm>
          <a:off x="565855" y="1873821"/>
          <a:ext cx="5650389" cy="1171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88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405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05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405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9037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</a:rPr>
                        <a:t>Group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ount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Mean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SD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9037">
                <a:tc>
                  <a:txBody>
                    <a:bodyPr/>
                    <a:lstStyle/>
                    <a:p>
                      <a:r>
                        <a:rPr lang="en-US" sz="1600" dirty="0"/>
                        <a:t>July 2017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,917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88.4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36.4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3310">
                <a:tc>
                  <a:txBody>
                    <a:bodyPr/>
                    <a:lstStyle/>
                    <a:p>
                      <a:r>
                        <a:rPr lang="en-US" sz="1600" dirty="0"/>
                        <a:t>July 2018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6,068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8.2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87.6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1741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nitedHealthGroup">
  <a:themeElements>
    <a:clrScheme name="UGH Theme colors">
      <a:dk1>
        <a:srgbClr val="424242"/>
      </a:dk1>
      <a:lt1>
        <a:srgbClr val="FFFFFF"/>
      </a:lt1>
      <a:dk2>
        <a:srgbClr val="424242"/>
      </a:dk2>
      <a:lt2>
        <a:srgbClr val="DADADA"/>
      </a:lt2>
      <a:accent1>
        <a:srgbClr val="003C71"/>
      </a:accent1>
      <a:accent2>
        <a:srgbClr val="0066F5"/>
      </a:accent2>
      <a:accent3>
        <a:srgbClr val="009104"/>
      </a:accent3>
      <a:accent4>
        <a:srgbClr val="AACE15"/>
      </a:accent4>
      <a:accent5>
        <a:srgbClr val="FCAE00"/>
      </a:accent5>
      <a:accent6>
        <a:srgbClr val="FFDA03"/>
      </a:accent6>
      <a:hlink>
        <a:srgbClr val="0066F5"/>
      </a:hlink>
      <a:folHlink>
        <a:srgbClr val="0066F5"/>
      </a:folHlink>
    </a:clrScheme>
    <a:fontScheme name="UnitedHealth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B681BCE-F58D-46DE-8301-D5D8D25CA10B}" vid="{F0D09667-A701-4A09-8501-3B5C71303E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>
    <Certification xmlns="e805ddc4-881b-4638-84cd-1cbbd7691f98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B58D7F6ACCDD4BB03F4D4A704F1D51" ma:contentTypeVersion="9" ma:contentTypeDescription="Create a new document." ma:contentTypeScope="" ma:versionID="80106c34a8a8de8c55a646e61bd9ccf0">
  <xsd:schema xmlns:xsd="http://www.w3.org/2001/XMLSchema" xmlns:xs="http://www.w3.org/2001/XMLSchema" xmlns:p="http://schemas.microsoft.com/office/2006/metadata/properties" xmlns:ns2="e805ddc4-881b-4638-84cd-1cbbd7691f98" xmlns:ns3="fa5f1e57-05af-4d53-aea7-c16ddf39f38c" targetNamespace="http://schemas.microsoft.com/office/2006/metadata/properties" ma:root="true" ma:fieldsID="816549c8b729fee488b97b0f764dcdc8" ns2:_="" ns3:_="">
    <xsd:import namespace="e805ddc4-881b-4638-84cd-1cbbd7691f98"/>
    <xsd:import namespace="fa5f1e57-05af-4d53-aea7-c16ddf39f38c"/>
    <xsd:element name="properties">
      <xsd:complexType>
        <xsd:sequence>
          <xsd:element name="documentManagement">
            <xsd:complexType>
              <xsd:all>
                <xsd:element ref="ns2:Certification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05ddc4-881b-4638-84cd-1cbbd7691f98" elementFormDefault="qualified">
    <xsd:import namespace="http://schemas.microsoft.com/office/2006/documentManagement/types"/>
    <xsd:import namespace="http://schemas.microsoft.com/office/infopath/2007/PartnerControls"/>
    <xsd:element name="Certification" ma:index="8" nillable="true" ma:displayName="Certification" ma:internalName="Certification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5f1e57-05af-4d53-aea7-c16ddf39f38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4AFA080-7381-4A49-A180-D43F226DE74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C8E744A-D351-4BA2-B694-CBBBF8BF0952}">
  <ds:schemaRefs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fa5f1e57-05af-4d53-aea7-c16ddf39f38c"/>
    <ds:schemaRef ds:uri="e805ddc4-881b-4638-84cd-1cbbd7691f98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6AFF8C11-EA04-4120-A097-651F2FCD1C6E}">
  <ds:schemaRefs>
    <ds:schemaRef ds:uri="e805ddc4-881b-4638-84cd-1cbbd7691f98"/>
    <ds:schemaRef ds:uri="fa5f1e57-05af-4d53-aea7-c16ddf39f38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HG_R&amp;D_PPT_4x3_2018-7</Template>
  <TotalTime>97</TotalTime>
  <Words>930</Words>
  <Application>Microsoft Office PowerPoint</Application>
  <PresentationFormat>On-screen Show (4:3)</PresentationFormat>
  <Paragraphs>389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Century Gothic</vt:lpstr>
      <vt:lpstr>Wingdings</vt:lpstr>
      <vt:lpstr>UnitedHealthGroup</vt:lpstr>
      <vt:lpstr>think-cell Slide</vt:lpstr>
      <vt:lpstr>PowerPoint Presentation</vt:lpstr>
      <vt:lpstr>Presentation Outline</vt:lpstr>
      <vt:lpstr>BACKGROUND</vt:lpstr>
      <vt:lpstr>METHODS</vt:lpstr>
      <vt:lpstr>KA MOTION ENROLLMENT RATE</vt:lpstr>
      <vt:lpstr>AMONG ELIGIBLE MEMBERS</vt:lpstr>
      <vt:lpstr>AMONG ELIGIBLE MEMBERS</vt:lpstr>
      <vt:lpstr>AMONG ELIGIBLE MEMBERS</vt:lpstr>
      <vt:lpstr>AMONG ELIGIBLE MEMBERS</vt:lpstr>
      <vt:lpstr>KA MOTION ACTIVE RATE</vt:lpstr>
      <vt:lpstr>ACTIVE AMONG ENROLLED </vt:lpstr>
      <vt:lpstr>ACTIVE AMONG ENROLLED </vt:lpstr>
      <vt:lpstr>ACTIVE AMONG ENROLLED </vt:lpstr>
      <vt:lpstr>ACTIVE AMONG ENROLLED </vt:lpstr>
      <vt:lpstr>CONCLUSION </vt:lpstr>
    </vt:vector>
  </TitlesOfParts>
  <Company>UnitedHealth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yvalerie Mondejar</dc:creator>
  <cp:lastModifiedBy>Nikko Joe Ramal</cp:lastModifiedBy>
  <cp:revision>779</cp:revision>
  <dcterms:created xsi:type="dcterms:W3CDTF">2019-01-25T11:14:58Z</dcterms:created>
  <dcterms:modified xsi:type="dcterms:W3CDTF">2019-01-28T15:4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B58D7F6ACCDD4BB03F4D4A704F1D51</vt:lpwstr>
  </property>
</Properties>
</file>